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4" r:id="rId4"/>
    <p:sldMasterId id="2147483773" r:id="rId5"/>
  </p:sldMasterIdLst>
  <p:notesMasterIdLst>
    <p:notesMasterId r:id="rId20"/>
  </p:notesMasterIdLst>
  <p:sldIdLst>
    <p:sldId id="320" r:id="rId6"/>
    <p:sldId id="321" r:id="rId7"/>
    <p:sldId id="483" r:id="rId8"/>
    <p:sldId id="498" r:id="rId9"/>
    <p:sldId id="499" r:id="rId10"/>
    <p:sldId id="497" r:id="rId11"/>
    <p:sldId id="494" r:id="rId12"/>
    <p:sldId id="495" r:id="rId13"/>
    <p:sldId id="496" r:id="rId14"/>
    <p:sldId id="463" r:id="rId15"/>
    <p:sldId id="500" r:id="rId16"/>
    <p:sldId id="501" r:id="rId17"/>
    <p:sldId id="502" r:id="rId18"/>
    <p:sldId id="315" r:id="rId19"/>
  </p:sldIdLst>
  <p:sldSz cx="12188825" cy="6858000"/>
  <p:notesSz cx="6858000" cy="9144000"/>
  <p:custDataLst>
    <p:tags r:id="rId21"/>
  </p:custDataLst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1009">
          <p15:clr>
            <a:srgbClr val="A4A3A4"/>
          </p15:clr>
        </p15:guide>
        <p15:guide id="3" orient="horz" pos="664">
          <p15:clr>
            <a:srgbClr val="A4A3A4"/>
          </p15:clr>
        </p15:guide>
        <p15:guide id="4" orient="horz" pos="4203">
          <p15:clr>
            <a:srgbClr val="A4A3A4"/>
          </p15:clr>
        </p15:guide>
        <p15:guide id="5" orient="horz" pos="3979">
          <p15:clr>
            <a:srgbClr val="A4A3A4"/>
          </p15:clr>
        </p15:guide>
        <p15:guide id="6" orient="horz" pos="3847">
          <p15:clr>
            <a:srgbClr val="A4A3A4"/>
          </p15:clr>
        </p15:guide>
        <p15:guide id="7" orient="horz" pos="1153">
          <p15:clr>
            <a:srgbClr val="A4A3A4"/>
          </p15:clr>
        </p15:guide>
        <p15:guide id="8" orient="horz" pos="2161">
          <p15:clr>
            <a:srgbClr val="A4A3A4"/>
          </p15:clr>
        </p15:guide>
        <p15:guide id="9" orient="horz" pos="892">
          <p15:clr>
            <a:srgbClr val="A4A3A4"/>
          </p15:clr>
        </p15:guide>
        <p15:guide id="10" orient="horz" pos="620">
          <p15:clr>
            <a:srgbClr val="A4A3A4"/>
          </p15:clr>
        </p15:guide>
        <p15:guide id="11" orient="horz" pos="173">
          <p15:clr>
            <a:srgbClr val="A4A3A4"/>
          </p15:clr>
        </p15:guide>
        <p15:guide id="12" orient="horz" pos="113">
          <p15:clr>
            <a:srgbClr val="A4A3A4"/>
          </p15:clr>
        </p15:guide>
        <p15:guide id="13" pos="3839">
          <p15:clr>
            <a:srgbClr val="A4A3A4"/>
          </p15:clr>
        </p15:guide>
        <p15:guide id="14" pos="643">
          <p15:clr>
            <a:srgbClr val="A4A3A4"/>
          </p15:clr>
        </p15:guide>
        <p15:guide id="15" pos="7294">
          <p15:clr>
            <a:srgbClr val="A4A3A4"/>
          </p15:clr>
        </p15:guide>
        <p15:guide id="16" pos="1195">
          <p15:clr>
            <a:srgbClr val="A4A3A4"/>
          </p15:clr>
        </p15:guide>
        <p15:guide id="17" pos="3756">
          <p15:clr>
            <a:srgbClr val="A4A3A4"/>
          </p15:clr>
        </p15:guide>
        <p15:guide id="18" pos="3921">
          <p15:clr>
            <a:srgbClr val="A4A3A4"/>
          </p15:clr>
        </p15:guide>
        <p15:guide id="19" pos="118">
          <p15:clr>
            <a:srgbClr val="A4A3A4"/>
          </p15:clr>
        </p15:guide>
        <p15:guide id="20" pos="440">
          <p15:clr>
            <a:srgbClr val="A4A3A4"/>
          </p15:clr>
        </p15:guide>
        <p15:guide id="21" pos="582">
          <p15:clr>
            <a:srgbClr val="A4A3A4"/>
          </p15:clr>
        </p15:guide>
        <p15:guide id="22" pos="384">
          <p15:clr>
            <a:srgbClr val="A4A3A4"/>
          </p15:clr>
        </p15:guide>
        <p15:guide id="23" pos="75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C430"/>
    <a:srgbClr val="A8D5E2"/>
    <a:srgbClr val="00A7CA"/>
    <a:srgbClr val="9FD49A"/>
    <a:srgbClr val="004D71"/>
    <a:srgbClr val="FCD801"/>
    <a:srgbClr val="02A5CA"/>
    <a:srgbClr val="A9A9A9"/>
    <a:srgbClr val="E2E2E2"/>
    <a:srgbClr val="F06E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52"/>
      </p:cViewPr>
      <p:guideLst>
        <p:guide orient="horz" pos="4176"/>
        <p:guide orient="horz" pos="1009"/>
        <p:guide orient="horz" pos="664"/>
        <p:guide orient="horz" pos="4203"/>
        <p:guide orient="horz" pos="3979"/>
        <p:guide orient="horz" pos="3847"/>
        <p:guide orient="horz" pos="1153"/>
        <p:guide orient="horz" pos="2161"/>
        <p:guide orient="horz" pos="892"/>
        <p:guide orient="horz" pos="620"/>
        <p:guide orient="horz" pos="173"/>
        <p:guide orient="horz" pos="113"/>
        <p:guide pos="3839"/>
        <p:guide pos="643"/>
        <p:guide pos="7294"/>
        <p:guide pos="1195"/>
        <p:guide pos="3756"/>
        <p:guide pos="3921"/>
        <p:guide pos="118"/>
        <p:guide pos="440"/>
        <p:guide pos="582"/>
        <p:guide pos="384"/>
        <p:guide pos="75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A6654-9E55-4B21-86D6-0CDCEC3C305A}" type="datetimeFigureOut">
              <a:rPr lang="en-US" smtClean="0"/>
              <a:t>3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825A4A-E948-4C41-914A-68B9DB5F6D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895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290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357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494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772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944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2248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825A4A-E948-4C41-914A-68B9DB5F6D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694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699-A844-41E1-A01B-F2F3232530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2A57D6-3068-4084-AAA4-7C899D6F5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83F01A-3A40-43FC-A785-C16552B2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222" y="108286"/>
            <a:ext cx="1383272" cy="49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930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0"/>
            <a:ext cx="5353208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24589" y="1600200"/>
            <a:ext cx="5354796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424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0"/>
            <a:ext cx="5353208" cy="4506913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769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869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/>
          <p:cNvGrpSpPr>
            <a:grpSpLocks noChangeAspect="1"/>
          </p:cNvGrpSpPr>
          <p:nvPr userDrawn="1"/>
        </p:nvGrpSpPr>
        <p:grpSpPr>
          <a:xfrm>
            <a:off x="9266427" y="-179386"/>
            <a:ext cx="3457994" cy="3490307"/>
            <a:chOff x="0" y="-350837"/>
            <a:chExt cx="1358900" cy="1371600"/>
          </a:xfrm>
          <a:solidFill>
            <a:schemeClr val="tx2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62725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ub-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3925" y="3430588"/>
            <a:ext cx="5300663" cy="322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3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rgbClr val="00A6CA"/>
          </a:solidFill>
        </p:grpSpPr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Rectangle 20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79392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Log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918394" y="2675732"/>
            <a:ext cx="10350826" cy="15001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tx2"/>
          </a:solidFill>
        </p:grpSpPr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Rectangle 18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560438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87324" y="179388"/>
            <a:ext cx="11814176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9076268" y="0"/>
            <a:ext cx="3457994" cy="3490307"/>
            <a:chOff x="0" y="-350837"/>
            <a:chExt cx="1358900" cy="1371600"/>
          </a:xfrm>
          <a:solidFill>
            <a:srgbClr val="FCD800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 rot="10800000">
            <a:off x="-1" y="-1"/>
            <a:ext cx="12188825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2" name="Rectangle 11"/>
          <p:cNvSpPr/>
          <p:nvPr userDrawn="1"/>
        </p:nvSpPr>
        <p:spPr>
          <a:xfrm rot="16200000">
            <a:off x="8666163" y="3335342"/>
            <a:ext cx="6858002" cy="1873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24428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ub-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3925" y="3430588"/>
            <a:ext cx="5300663" cy="322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Rectangle 21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27843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919000" y="2675732"/>
            <a:ext cx="10350826" cy="15001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923925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30740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87326" y="23927"/>
            <a:ext cx="11814176" cy="6492875"/>
          </a:xfrm>
          <a:prstGeom prst="rect">
            <a:avLst/>
          </a:prstGeom>
          <a:solidFill>
            <a:srgbClr val="EBEBEB"/>
          </a:solidFill>
          <a:ln>
            <a:solidFill>
              <a:srgbClr val="EDED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-14790" y="-63196"/>
            <a:ext cx="3457994" cy="3490307"/>
            <a:chOff x="0" y="-350837"/>
            <a:chExt cx="1358900" cy="1371600"/>
          </a:xfrm>
          <a:solidFill>
            <a:schemeClr val="tx2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CD800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CD800"/>
                </a:solidFill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 rot="10800000">
            <a:off x="-1" y="-1"/>
            <a:ext cx="12188825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FFF"/>
                </a:solidFill>
              </a:rPr>
              <a:t>v</a:t>
            </a:r>
          </a:p>
        </p:txBody>
      </p:sp>
      <p:sp>
        <p:nvSpPr>
          <p:cNvPr id="12" name="Rectangle 11"/>
          <p:cNvSpPr/>
          <p:nvPr userDrawn="1"/>
        </p:nvSpPr>
        <p:spPr>
          <a:xfrm rot="16200000">
            <a:off x="8666163" y="3335342"/>
            <a:ext cx="6858002" cy="1873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FFF"/>
                </a:solidFill>
              </a:rPr>
              <a:t>v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 rot="16200000">
            <a:off x="-3350129" y="3335342"/>
            <a:ext cx="6858002" cy="1873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FFFFFF"/>
                </a:solidFill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238330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23699-A844-41E1-A01B-F2F3232530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674" y="275433"/>
            <a:ext cx="9141619" cy="652295"/>
          </a:xfrm>
        </p:spPr>
        <p:txBody>
          <a:bodyPr anchor="t">
            <a:normAutofit/>
          </a:bodyPr>
          <a:lstStyle>
            <a:lvl1pPr algn="l">
              <a:defRPr sz="3599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83F01A-3A40-43FC-A785-C16552B2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222" y="108286"/>
            <a:ext cx="1383272" cy="49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277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ub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923925" y="3768313"/>
            <a:ext cx="10655300" cy="6619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cap="none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"/>
          </p:nvPr>
        </p:nvSpPr>
        <p:spPr>
          <a:xfrm>
            <a:off x="923925" y="4601601"/>
            <a:ext cx="10655300" cy="15001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23925" y="3430588"/>
            <a:ext cx="5300663" cy="322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5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solidFill>
              <a:schemeClr val="tx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6988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Logo Transi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rgbClr val="EBEB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00" y="2675732"/>
            <a:ext cx="10350826" cy="15001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2" name="Group 4"/>
          <p:cNvGrpSpPr>
            <a:grpSpLocks noChangeAspect="1"/>
          </p:cNvGrpSpPr>
          <p:nvPr userDrawn="1"/>
        </p:nvGrpSpPr>
        <p:grpSpPr bwMode="auto">
          <a:xfrm>
            <a:off x="10430933" y="380390"/>
            <a:ext cx="1148292" cy="299927"/>
            <a:chOff x="44" y="1156"/>
            <a:chExt cx="5628" cy="1470"/>
          </a:xfrm>
          <a:solidFill>
            <a:schemeClr val="bg1"/>
          </a:solidFill>
        </p:grpSpPr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solidFill>
              <a:schemeClr val="tx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4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15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16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17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18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19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02257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8394" y="1830918"/>
            <a:ext cx="5001892" cy="2321765"/>
          </a:xfrm>
        </p:spPr>
        <p:txBody>
          <a:bodyPr/>
          <a:lstStyle>
            <a:lvl1pPr>
              <a:spcAft>
                <a:spcPts val="1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53424" y="1830918"/>
            <a:ext cx="5001892" cy="2321765"/>
          </a:xfrm>
        </p:spPr>
        <p:txBody>
          <a:bodyPr/>
          <a:lstStyle>
            <a:lvl1pPr>
              <a:spcAft>
                <a:spcPts val="160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3"/>
          <p:cNvSpPr>
            <a:spLocks noGrp="1"/>
          </p:cNvSpPr>
          <p:nvPr>
            <p:ph type="title"/>
          </p:nvPr>
        </p:nvSpPr>
        <p:spPr>
          <a:xfrm>
            <a:off x="1792351" y="777240"/>
            <a:ext cx="9424270" cy="30813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139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88825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6675" y="2404534"/>
            <a:ext cx="7764913" cy="1646302"/>
          </a:xfrm>
        </p:spPr>
        <p:txBody>
          <a:bodyPr anchor="b">
            <a:noAutofit/>
          </a:bodyPr>
          <a:lstStyle>
            <a:lvl1pPr algn="r">
              <a:defRPr sz="539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6675" y="4050834"/>
            <a:ext cx="7764913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DED8A3C-CF92-42D5-9D84-E5C1711C3E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222" y="108286"/>
            <a:ext cx="1383272" cy="49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4113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7152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9" y="2700868"/>
            <a:ext cx="8594429" cy="1826581"/>
          </a:xfrm>
        </p:spPr>
        <p:txBody>
          <a:bodyPr anchor="b"/>
          <a:lstStyle>
            <a:lvl1pPr algn="l">
              <a:defRPr sz="39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860400"/>
          </a:xfrm>
        </p:spPr>
        <p:txBody>
          <a:bodyPr anchor="t"/>
          <a:lstStyle>
            <a:lvl1pPr marL="0" indent="0" algn="l">
              <a:buNone/>
              <a:defRPr sz="19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602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158" y="2160589"/>
            <a:ext cx="418294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8645" y="2160590"/>
            <a:ext cx="418294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7F12D-738D-4253-AF99-F12EED43DF84}" type="datetime1">
              <a:rPr lang="en-US" smtClean="0"/>
              <a:t>3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382B9-D75F-4829-BEDF-BB1139B82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2989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570" y="2160983"/>
            <a:ext cx="4184533" cy="576262"/>
          </a:xfrm>
        </p:spPr>
        <p:txBody>
          <a:bodyPr anchor="b">
            <a:noAutofit/>
          </a:bodyPr>
          <a:lstStyle>
            <a:lvl1pPr marL="0" indent="0">
              <a:buNone/>
              <a:defRPr sz="23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570" y="2737246"/>
            <a:ext cx="418453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7058" y="2160983"/>
            <a:ext cx="4184528" cy="576262"/>
          </a:xfrm>
        </p:spPr>
        <p:txBody>
          <a:bodyPr anchor="b">
            <a:noAutofit/>
          </a:bodyPr>
          <a:lstStyle>
            <a:lvl1pPr marL="0" indent="0">
              <a:buNone/>
              <a:defRPr sz="23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7059" y="2737246"/>
            <a:ext cx="418452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562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8" y="609600"/>
            <a:ext cx="8594429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08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4921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6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0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98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09445" y="6145367"/>
            <a:ext cx="10965711" cy="2974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1463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8" y="1498604"/>
            <a:ext cx="3853524" cy="1278466"/>
          </a:xfrm>
        </p:spPr>
        <p:txBody>
          <a:bodyPr anchor="b">
            <a:normAutofit/>
          </a:bodyPr>
          <a:lstStyle>
            <a:lvl1pPr>
              <a:defRPr sz="1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9222" y="514925"/>
            <a:ext cx="4512366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158" y="2777069"/>
            <a:ext cx="3853524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498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8" y="4800600"/>
            <a:ext cx="8594428" cy="566738"/>
          </a:xfrm>
        </p:spPr>
        <p:txBody>
          <a:bodyPr anchor="b">
            <a:normAutofit/>
          </a:bodyPr>
          <a:lstStyle>
            <a:lvl1pPr algn="l">
              <a:defRPr sz="2399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158" y="609600"/>
            <a:ext cx="8594429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063" indent="0">
              <a:buNone/>
              <a:defRPr sz="1600"/>
            </a:lvl2pPr>
            <a:lvl3pPr marL="914126" indent="0">
              <a:buNone/>
              <a:defRPr sz="1600"/>
            </a:lvl3pPr>
            <a:lvl4pPr marL="1371189" indent="0">
              <a:buNone/>
              <a:defRPr sz="1600"/>
            </a:lvl4pPr>
            <a:lvl5pPr marL="1828251" indent="0">
              <a:buNone/>
              <a:defRPr sz="1600"/>
            </a:lvl5pPr>
            <a:lvl6pPr marL="2285314" indent="0">
              <a:buNone/>
              <a:defRPr sz="1600"/>
            </a:lvl6pPr>
            <a:lvl7pPr marL="2742377" indent="0">
              <a:buNone/>
              <a:defRPr sz="1600"/>
            </a:lvl7pPr>
            <a:lvl8pPr marL="3199440" indent="0">
              <a:buNone/>
              <a:defRPr sz="1600"/>
            </a:lvl8pPr>
            <a:lvl9pPr marL="3656503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158" y="5367338"/>
            <a:ext cx="8594428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9180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9" y="609600"/>
            <a:ext cx="8594429" cy="3403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470400"/>
            <a:ext cx="8594429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6286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092" y="609600"/>
            <a:ext cx="8092026" cy="3022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5783" y="3632200"/>
            <a:ext cx="722264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1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470400"/>
            <a:ext cx="8594429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729" y="790378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0695" y="2886556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2399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9781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59" y="1931988"/>
            <a:ext cx="8594429" cy="2595460"/>
          </a:xfrm>
        </p:spPr>
        <p:txBody>
          <a:bodyPr anchor="b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511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092" y="609600"/>
            <a:ext cx="8092026" cy="3022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156" y="4013200"/>
            <a:ext cx="8594430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39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1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729" y="790378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0695" y="2886556"/>
            <a:ext cx="609441" cy="584776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/>
          <a:p>
            <a:pPr lvl="0"/>
            <a:r>
              <a:rPr lang="en-US" sz="7998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714063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621" y="609600"/>
            <a:ext cx="8585966" cy="3022600"/>
          </a:xfrm>
        </p:spPr>
        <p:txBody>
          <a:bodyPr anchor="ctr">
            <a:normAutofit/>
          </a:bodyPr>
          <a:lstStyle>
            <a:lvl1pPr algn="l">
              <a:defRPr sz="4399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156" y="4013200"/>
            <a:ext cx="8594430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399">
                <a:solidFill>
                  <a:schemeClr val="accent1"/>
                </a:solidFill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1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9" y="4527448"/>
            <a:ext cx="8594429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799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5286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5918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5599" y="609600"/>
            <a:ext cx="130440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159" y="609600"/>
            <a:ext cx="7058311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00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00200"/>
            <a:ext cx="5353208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24589" y="1600200"/>
            <a:ext cx="5354796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1313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7F12D-738D-4253-AF99-F12EED43DF84}" type="datetime1">
              <a:rPr lang="en-US" smtClean="0"/>
              <a:t>3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382B9-D75F-4829-BEDF-BB1139B82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402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/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87324" y="179388"/>
            <a:ext cx="11814175" cy="64928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ln>
                <a:noFill/>
              </a:ln>
              <a:noFill/>
            </a:endParaRPr>
          </a:p>
        </p:txBody>
      </p:sp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7652760" y="2402948"/>
            <a:ext cx="5156201" cy="5204386"/>
            <a:chOff x="0" y="-350837"/>
            <a:chExt cx="1358900" cy="1371600"/>
          </a:xfrm>
          <a:solidFill>
            <a:schemeClr val="accent2"/>
          </a:solidFill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4" name="Title 1"/>
          <p:cNvSpPr>
            <a:spLocks noGrp="1"/>
          </p:cNvSpPr>
          <p:nvPr>
            <p:ph type="ctrTitle"/>
          </p:nvPr>
        </p:nvSpPr>
        <p:spPr bwMode="black">
          <a:xfrm>
            <a:off x="609600" y="3086100"/>
            <a:ext cx="10356269" cy="4746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3738709"/>
            <a:ext cx="7439320" cy="1829393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169863" indent="0">
              <a:buNone/>
              <a:defRPr sz="2000"/>
            </a:lvl2pPr>
            <a:lvl3pPr marL="398463" indent="0">
              <a:buNone/>
              <a:defRPr sz="2000"/>
            </a:lvl3pPr>
            <a:lvl4pPr marL="576263" indent="0">
              <a:buNone/>
              <a:defRPr sz="2000"/>
            </a:lvl4pPr>
            <a:lvl5pPr marL="804863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0" name="Group 4"/>
          <p:cNvGrpSpPr>
            <a:grpSpLocks noChangeAspect="1"/>
          </p:cNvGrpSpPr>
          <p:nvPr userDrawn="1"/>
        </p:nvGrpSpPr>
        <p:grpSpPr bwMode="auto">
          <a:xfrm>
            <a:off x="609600" y="1350032"/>
            <a:ext cx="1858102" cy="485325"/>
            <a:chOff x="44" y="1156"/>
            <a:chExt cx="5628" cy="1470"/>
          </a:xfrm>
          <a:solidFill>
            <a:schemeClr val="tx2"/>
          </a:solidFill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6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Rectangle 23"/>
          <p:cNvSpPr/>
          <p:nvPr userDrawn="1"/>
        </p:nvSpPr>
        <p:spPr>
          <a:xfrm>
            <a:off x="0" y="6678613"/>
            <a:ext cx="12188825" cy="179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25" name="Rectangle 24"/>
          <p:cNvSpPr/>
          <p:nvPr userDrawn="1"/>
        </p:nvSpPr>
        <p:spPr>
          <a:xfrm rot="16200000">
            <a:off x="8666112" y="3335341"/>
            <a:ext cx="6858002" cy="1873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grpSp>
        <p:nvGrpSpPr>
          <p:cNvPr id="45" name="Group 4"/>
          <p:cNvGrpSpPr>
            <a:grpSpLocks noChangeAspect="1"/>
          </p:cNvGrpSpPr>
          <p:nvPr userDrawn="1"/>
        </p:nvGrpSpPr>
        <p:grpSpPr bwMode="auto">
          <a:xfrm>
            <a:off x="762000" y="1502432"/>
            <a:ext cx="1858102" cy="485325"/>
            <a:chOff x="44" y="1156"/>
            <a:chExt cx="5628" cy="1470"/>
          </a:xfrm>
          <a:solidFill>
            <a:schemeClr val="bg1"/>
          </a:solidFill>
        </p:grpSpPr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51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600" y="5570957"/>
            <a:ext cx="7441436" cy="2462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609600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30875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/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7840133" y="2582335"/>
            <a:ext cx="5156201" cy="5204386"/>
            <a:chOff x="0" y="-350837"/>
            <a:chExt cx="1358900" cy="1371600"/>
          </a:xfrm>
          <a:solidFill>
            <a:srgbClr val="00A6CA"/>
          </a:solidFill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0" y="-350837"/>
              <a:ext cx="1358900" cy="1371600"/>
            </a:xfrm>
            <a:custGeom>
              <a:avLst/>
              <a:gdLst>
                <a:gd name="T0" fmla="*/ 148 w 300"/>
                <a:gd name="T1" fmla="*/ 0 h 303"/>
                <a:gd name="T2" fmla="*/ 148 w 300"/>
                <a:gd name="T3" fmla="*/ 0 h 303"/>
                <a:gd name="T4" fmla="*/ 17 w 300"/>
                <a:gd name="T5" fmla="*/ 75 h 303"/>
                <a:gd name="T6" fmla="*/ 14 w 300"/>
                <a:gd name="T7" fmla="*/ 122 h 303"/>
                <a:gd name="T8" fmla="*/ 53 w 300"/>
                <a:gd name="T9" fmla="*/ 140 h 303"/>
                <a:gd name="T10" fmla="*/ 72 w 300"/>
                <a:gd name="T11" fmla="*/ 140 h 303"/>
                <a:gd name="T12" fmla="*/ 65 w 300"/>
                <a:gd name="T13" fmla="*/ 161 h 303"/>
                <a:gd name="T14" fmla="*/ 69 w 300"/>
                <a:gd name="T15" fmla="*/ 199 h 303"/>
                <a:gd name="T16" fmla="*/ 100 w 300"/>
                <a:gd name="T17" fmla="*/ 213 h 303"/>
                <a:gd name="T18" fmla="*/ 127 w 300"/>
                <a:gd name="T19" fmla="*/ 207 h 303"/>
                <a:gd name="T20" fmla="*/ 121 w 300"/>
                <a:gd name="T21" fmla="*/ 197 h 303"/>
                <a:gd name="T22" fmla="*/ 118 w 300"/>
                <a:gd name="T23" fmla="*/ 186 h 303"/>
                <a:gd name="T24" fmla="*/ 101 w 300"/>
                <a:gd name="T25" fmla="*/ 189 h 303"/>
                <a:gd name="T26" fmla="*/ 90 w 300"/>
                <a:gd name="T27" fmla="*/ 184 h 303"/>
                <a:gd name="T28" fmla="*/ 88 w 300"/>
                <a:gd name="T29" fmla="*/ 169 h 303"/>
                <a:gd name="T30" fmla="*/ 98 w 300"/>
                <a:gd name="T31" fmla="*/ 140 h 303"/>
                <a:gd name="T32" fmla="*/ 128 w 300"/>
                <a:gd name="T33" fmla="*/ 140 h 303"/>
                <a:gd name="T34" fmla="*/ 135 w 300"/>
                <a:gd name="T35" fmla="*/ 115 h 303"/>
                <a:gd name="T36" fmla="*/ 106 w 300"/>
                <a:gd name="T37" fmla="*/ 115 h 303"/>
                <a:gd name="T38" fmla="*/ 119 w 300"/>
                <a:gd name="T39" fmla="*/ 75 h 303"/>
                <a:gd name="T40" fmla="*/ 93 w 300"/>
                <a:gd name="T41" fmla="*/ 75 h 303"/>
                <a:gd name="T42" fmla="*/ 80 w 300"/>
                <a:gd name="T43" fmla="*/ 115 h 303"/>
                <a:gd name="T44" fmla="*/ 53 w 300"/>
                <a:gd name="T45" fmla="*/ 115 h 303"/>
                <a:gd name="T46" fmla="*/ 36 w 300"/>
                <a:gd name="T47" fmla="*/ 108 h 303"/>
                <a:gd name="T48" fmla="*/ 43 w 300"/>
                <a:gd name="T49" fmla="*/ 80 h 303"/>
                <a:gd name="T50" fmla="*/ 43 w 300"/>
                <a:gd name="T51" fmla="*/ 80 h 303"/>
                <a:gd name="T52" fmla="*/ 148 w 300"/>
                <a:gd name="T53" fmla="*/ 24 h 303"/>
                <a:gd name="T54" fmla="*/ 275 w 300"/>
                <a:gd name="T55" fmla="*/ 151 h 303"/>
                <a:gd name="T56" fmla="*/ 148 w 300"/>
                <a:gd name="T57" fmla="*/ 278 h 303"/>
                <a:gd name="T58" fmla="*/ 24 w 300"/>
                <a:gd name="T59" fmla="*/ 175 h 303"/>
                <a:gd name="T60" fmla="*/ 0 w 300"/>
                <a:gd name="T61" fmla="*/ 180 h 303"/>
                <a:gd name="T62" fmla="*/ 148 w 300"/>
                <a:gd name="T63" fmla="*/ 303 h 303"/>
                <a:gd name="T64" fmla="*/ 300 w 300"/>
                <a:gd name="T65" fmla="*/ 151 h 303"/>
                <a:gd name="T66" fmla="*/ 148 w 300"/>
                <a:gd name="T6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03">
                  <a:moveTo>
                    <a:pt x="148" y="0"/>
                  </a:moveTo>
                  <a:lnTo>
                    <a:pt x="148" y="0"/>
                  </a:lnTo>
                  <a:cubicBezTo>
                    <a:pt x="92" y="0"/>
                    <a:pt x="43" y="30"/>
                    <a:pt x="17" y="75"/>
                  </a:cubicBezTo>
                  <a:cubicBezTo>
                    <a:pt x="7" y="93"/>
                    <a:pt x="6" y="109"/>
                    <a:pt x="14" y="122"/>
                  </a:cubicBezTo>
                  <a:cubicBezTo>
                    <a:pt x="22" y="137"/>
                    <a:pt x="42" y="140"/>
                    <a:pt x="53" y="140"/>
                  </a:cubicBezTo>
                  <a:lnTo>
                    <a:pt x="72" y="140"/>
                  </a:lnTo>
                  <a:lnTo>
                    <a:pt x="65" y="161"/>
                  </a:lnTo>
                  <a:cubicBezTo>
                    <a:pt x="60" y="175"/>
                    <a:pt x="62" y="189"/>
                    <a:pt x="69" y="199"/>
                  </a:cubicBezTo>
                  <a:cubicBezTo>
                    <a:pt x="76" y="208"/>
                    <a:pt x="87" y="213"/>
                    <a:pt x="100" y="213"/>
                  </a:cubicBezTo>
                  <a:cubicBezTo>
                    <a:pt x="109" y="213"/>
                    <a:pt x="118" y="211"/>
                    <a:pt x="127" y="207"/>
                  </a:cubicBezTo>
                  <a:cubicBezTo>
                    <a:pt x="124" y="204"/>
                    <a:pt x="122" y="201"/>
                    <a:pt x="121" y="197"/>
                  </a:cubicBezTo>
                  <a:cubicBezTo>
                    <a:pt x="120" y="193"/>
                    <a:pt x="119" y="189"/>
                    <a:pt x="118" y="186"/>
                  </a:cubicBezTo>
                  <a:cubicBezTo>
                    <a:pt x="113" y="188"/>
                    <a:pt x="107" y="189"/>
                    <a:pt x="101" y="189"/>
                  </a:cubicBezTo>
                  <a:cubicBezTo>
                    <a:pt x="97" y="189"/>
                    <a:pt x="92" y="187"/>
                    <a:pt x="90" y="184"/>
                  </a:cubicBezTo>
                  <a:cubicBezTo>
                    <a:pt x="87" y="180"/>
                    <a:pt x="87" y="175"/>
                    <a:pt x="88" y="169"/>
                  </a:cubicBezTo>
                  <a:lnTo>
                    <a:pt x="98" y="140"/>
                  </a:lnTo>
                  <a:lnTo>
                    <a:pt x="128" y="140"/>
                  </a:lnTo>
                  <a:lnTo>
                    <a:pt x="135" y="115"/>
                  </a:lnTo>
                  <a:lnTo>
                    <a:pt x="106" y="115"/>
                  </a:lnTo>
                  <a:lnTo>
                    <a:pt x="119" y="75"/>
                  </a:lnTo>
                  <a:lnTo>
                    <a:pt x="93" y="75"/>
                  </a:lnTo>
                  <a:lnTo>
                    <a:pt x="80" y="115"/>
                  </a:lnTo>
                  <a:lnTo>
                    <a:pt x="53" y="115"/>
                  </a:lnTo>
                  <a:cubicBezTo>
                    <a:pt x="44" y="115"/>
                    <a:pt x="38" y="113"/>
                    <a:pt x="36" y="108"/>
                  </a:cubicBezTo>
                  <a:cubicBezTo>
                    <a:pt x="33" y="103"/>
                    <a:pt x="36" y="93"/>
                    <a:pt x="43" y="80"/>
                  </a:cubicBezTo>
                  <a:lnTo>
                    <a:pt x="43" y="80"/>
                  </a:lnTo>
                  <a:cubicBezTo>
                    <a:pt x="66" y="46"/>
                    <a:pt x="104" y="24"/>
                    <a:pt x="148" y="24"/>
                  </a:cubicBezTo>
                  <a:cubicBezTo>
                    <a:pt x="218" y="24"/>
                    <a:pt x="275" y="81"/>
                    <a:pt x="275" y="151"/>
                  </a:cubicBezTo>
                  <a:cubicBezTo>
                    <a:pt x="275" y="221"/>
                    <a:pt x="218" y="278"/>
                    <a:pt x="148" y="278"/>
                  </a:cubicBezTo>
                  <a:cubicBezTo>
                    <a:pt x="86" y="278"/>
                    <a:pt x="35" y="233"/>
                    <a:pt x="24" y="175"/>
                  </a:cubicBezTo>
                  <a:lnTo>
                    <a:pt x="0" y="180"/>
                  </a:lnTo>
                  <a:cubicBezTo>
                    <a:pt x="13" y="250"/>
                    <a:pt x="74" y="303"/>
                    <a:pt x="148" y="303"/>
                  </a:cubicBezTo>
                  <a:cubicBezTo>
                    <a:pt x="232" y="303"/>
                    <a:pt x="300" y="235"/>
                    <a:pt x="300" y="151"/>
                  </a:cubicBezTo>
                  <a:cubicBezTo>
                    <a:pt x="300" y="67"/>
                    <a:pt x="232" y="0"/>
                    <a:pt x="14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588963" y="169863"/>
              <a:ext cx="561975" cy="444500"/>
            </a:xfrm>
            <a:custGeom>
              <a:avLst/>
              <a:gdLst>
                <a:gd name="T0" fmla="*/ 115 w 124"/>
                <a:gd name="T1" fmla="*/ 77 h 98"/>
                <a:gd name="T2" fmla="*/ 115 w 124"/>
                <a:gd name="T3" fmla="*/ 77 h 98"/>
                <a:gd name="T4" fmla="*/ 96 w 124"/>
                <a:gd name="T5" fmla="*/ 73 h 98"/>
                <a:gd name="T6" fmla="*/ 91 w 124"/>
                <a:gd name="T7" fmla="*/ 65 h 98"/>
                <a:gd name="T8" fmla="*/ 91 w 124"/>
                <a:gd name="T9" fmla="*/ 65 h 98"/>
                <a:gd name="T10" fmla="*/ 92 w 124"/>
                <a:gd name="T11" fmla="*/ 58 h 98"/>
                <a:gd name="T12" fmla="*/ 110 w 124"/>
                <a:gd name="T13" fmla="*/ 0 h 98"/>
                <a:gd name="T14" fmla="*/ 110 w 124"/>
                <a:gd name="T15" fmla="*/ 0 h 98"/>
                <a:gd name="T16" fmla="*/ 84 w 124"/>
                <a:gd name="T17" fmla="*/ 0 h 98"/>
                <a:gd name="T18" fmla="*/ 84 w 124"/>
                <a:gd name="T19" fmla="*/ 0 h 98"/>
                <a:gd name="T20" fmla="*/ 68 w 124"/>
                <a:gd name="T21" fmla="*/ 50 h 98"/>
                <a:gd name="T22" fmla="*/ 68 w 124"/>
                <a:gd name="T23" fmla="*/ 50 h 98"/>
                <a:gd name="T24" fmla="*/ 38 w 124"/>
                <a:gd name="T25" fmla="*/ 73 h 98"/>
                <a:gd name="T26" fmla="*/ 29 w 124"/>
                <a:gd name="T27" fmla="*/ 69 h 98"/>
                <a:gd name="T28" fmla="*/ 28 w 124"/>
                <a:gd name="T29" fmla="*/ 58 h 98"/>
                <a:gd name="T30" fmla="*/ 47 w 124"/>
                <a:gd name="T31" fmla="*/ 0 h 98"/>
                <a:gd name="T32" fmla="*/ 20 w 124"/>
                <a:gd name="T33" fmla="*/ 0 h 98"/>
                <a:gd name="T34" fmla="*/ 4 w 124"/>
                <a:gd name="T35" fmla="*/ 50 h 98"/>
                <a:gd name="T36" fmla="*/ 8 w 124"/>
                <a:gd name="T37" fmla="*/ 84 h 98"/>
                <a:gd name="T38" fmla="*/ 37 w 124"/>
                <a:gd name="T39" fmla="*/ 98 h 98"/>
                <a:gd name="T40" fmla="*/ 73 w 124"/>
                <a:gd name="T41" fmla="*/ 84 h 98"/>
                <a:gd name="T42" fmla="*/ 87 w 124"/>
                <a:gd name="T43" fmla="*/ 95 h 98"/>
                <a:gd name="T44" fmla="*/ 107 w 124"/>
                <a:gd name="T45" fmla="*/ 98 h 98"/>
                <a:gd name="T46" fmla="*/ 114 w 124"/>
                <a:gd name="T47" fmla="*/ 97 h 98"/>
                <a:gd name="T48" fmla="*/ 115 w 124"/>
                <a:gd name="T49" fmla="*/ 95 h 98"/>
                <a:gd name="T50" fmla="*/ 118 w 124"/>
                <a:gd name="T51" fmla="*/ 90 h 98"/>
                <a:gd name="T52" fmla="*/ 120 w 124"/>
                <a:gd name="T53" fmla="*/ 85 h 98"/>
                <a:gd name="T54" fmla="*/ 123 w 124"/>
                <a:gd name="T55" fmla="*/ 80 h 98"/>
                <a:gd name="T56" fmla="*/ 124 w 124"/>
                <a:gd name="T57" fmla="*/ 76 h 98"/>
                <a:gd name="T58" fmla="*/ 115 w 124"/>
                <a:gd name="T59" fmla="*/ 7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4" h="98">
                  <a:moveTo>
                    <a:pt x="115" y="77"/>
                  </a:moveTo>
                  <a:lnTo>
                    <a:pt x="115" y="77"/>
                  </a:lnTo>
                  <a:cubicBezTo>
                    <a:pt x="109" y="77"/>
                    <a:pt x="101" y="76"/>
                    <a:pt x="96" y="73"/>
                  </a:cubicBezTo>
                  <a:cubicBezTo>
                    <a:pt x="94" y="71"/>
                    <a:pt x="92" y="69"/>
                    <a:pt x="91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1" y="63"/>
                    <a:pt x="91" y="60"/>
                    <a:pt x="92" y="58"/>
                  </a:cubicBezTo>
                  <a:lnTo>
                    <a:pt x="110" y="0"/>
                  </a:lnTo>
                  <a:lnTo>
                    <a:pt x="11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8" y="50"/>
                  </a:lnTo>
                  <a:cubicBezTo>
                    <a:pt x="68" y="50"/>
                    <a:pt x="68" y="50"/>
                    <a:pt x="68" y="50"/>
                  </a:cubicBezTo>
                  <a:cubicBezTo>
                    <a:pt x="64" y="63"/>
                    <a:pt x="50" y="73"/>
                    <a:pt x="38" y="73"/>
                  </a:cubicBezTo>
                  <a:cubicBezTo>
                    <a:pt x="35" y="73"/>
                    <a:pt x="31" y="72"/>
                    <a:pt x="29" y="69"/>
                  </a:cubicBezTo>
                  <a:cubicBezTo>
                    <a:pt x="27" y="67"/>
                    <a:pt x="26" y="63"/>
                    <a:pt x="28" y="58"/>
                  </a:cubicBezTo>
                  <a:lnTo>
                    <a:pt x="47" y="0"/>
                  </a:lnTo>
                  <a:lnTo>
                    <a:pt x="20" y="0"/>
                  </a:lnTo>
                  <a:lnTo>
                    <a:pt x="4" y="50"/>
                  </a:lnTo>
                  <a:cubicBezTo>
                    <a:pt x="0" y="62"/>
                    <a:pt x="2" y="75"/>
                    <a:pt x="8" y="84"/>
                  </a:cubicBezTo>
                  <a:cubicBezTo>
                    <a:pt x="15" y="93"/>
                    <a:pt x="25" y="98"/>
                    <a:pt x="37" y="98"/>
                  </a:cubicBezTo>
                  <a:cubicBezTo>
                    <a:pt x="49" y="98"/>
                    <a:pt x="62" y="93"/>
                    <a:pt x="73" y="84"/>
                  </a:cubicBezTo>
                  <a:cubicBezTo>
                    <a:pt x="76" y="90"/>
                    <a:pt x="81" y="93"/>
                    <a:pt x="87" y="95"/>
                  </a:cubicBezTo>
                  <a:cubicBezTo>
                    <a:pt x="95" y="98"/>
                    <a:pt x="101" y="98"/>
                    <a:pt x="107" y="98"/>
                  </a:cubicBezTo>
                  <a:cubicBezTo>
                    <a:pt x="109" y="98"/>
                    <a:pt x="112" y="97"/>
                    <a:pt x="114" y="97"/>
                  </a:cubicBezTo>
                  <a:cubicBezTo>
                    <a:pt x="114" y="96"/>
                    <a:pt x="115" y="95"/>
                    <a:pt x="115" y="95"/>
                  </a:cubicBezTo>
                  <a:cubicBezTo>
                    <a:pt x="116" y="93"/>
                    <a:pt x="117" y="91"/>
                    <a:pt x="118" y="90"/>
                  </a:cubicBezTo>
                  <a:cubicBezTo>
                    <a:pt x="119" y="88"/>
                    <a:pt x="120" y="87"/>
                    <a:pt x="120" y="85"/>
                  </a:cubicBezTo>
                  <a:cubicBezTo>
                    <a:pt x="121" y="83"/>
                    <a:pt x="122" y="82"/>
                    <a:pt x="123" y="80"/>
                  </a:cubicBezTo>
                  <a:cubicBezTo>
                    <a:pt x="123" y="79"/>
                    <a:pt x="124" y="78"/>
                    <a:pt x="124" y="76"/>
                  </a:cubicBezTo>
                  <a:cubicBezTo>
                    <a:pt x="122" y="77"/>
                    <a:pt x="119" y="77"/>
                    <a:pt x="1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2"/>
                </a:solidFill>
              </a:endParaRPr>
            </a:p>
          </p:txBody>
        </p:sp>
      </p:grpSp>
      <p:sp>
        <p:nvSpPr>
          <p:cNvPr id="4" name="Title 1"/>
          <p:cNvSpPr>
            <a:spLocks noGrp="1"/>
          </p:cNvSpPr>
          <p:nvPr>
            <p:ph type="ctrTitle"/>
          </p:nvPr>
        </p:nvSpPr>
        <p:spPr bwMode="black">
          <a:xfrm>
            <a:off x="609600" y="3086100"/>
            <a:ext cx="10356269" cy="4746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3738709"/>
            <a:ext cx="7439320" cy="1829393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169863" indent="0">
              <a:buNone/>
              <a:defRPr sz="2000"/>
            </a:lvl2pPr>
            <a:lvl3pPr marL="398463" indent="0">
              <a:buNone/>
              <a:defRPr sz="2000"/>
            </a:lvl3pPr>
            <a:lvl4pPr marL="576263" indent="0">
              <a:buNone/>
              <a:defRPr sz="2000"/>
            </a:lvl4pPr>
            <a:lvl5pPr marL="804863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0" name="Group 4"/>
          <p:cNvGrpSpPr>
            <a:grpSpLocks noChangeAspect="1"/>
          </p:cNvGrpSpPr>
          <p:nvPr userDrawn="1"/>
        </p:nvGrpSpPr>
        <p:grpSpPr bwMode="auto">
          <a:xfrm>
            <a:off x="609600" y="1350032"/>
            <a:ext cx="1858102" cy="485325"/>
            <a:chOff x="44" y="1156"/>
            <a:chExt cx="5628" cy="1470"/>
          </a:xfrm>
          <a:solidFill>
            <a:schemeClr val="tx2"/>
          </a:solidFill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502" y="2133"/>
              <a:ext cx="398" cy="481"/>
            </a:xfrm>
            <a:custGeom>
              <a:avLst/>
              <a:gdLst>
                <a:gd name="T0" fmla="*/ 53 w 398"/>
                <a:gd name="T1" fmla="*/ 0 h 481"/>
                <a:gd name="T2" fmla="*/ 77 w 398"/>
                <a:gd name="T3" fmla="*/ 2 h 481"/>
                <a:gd name="T4" fmla="*/ 99 w 398"/>
                <a:gd name="T5" fmla="*/ 7 h 481"/>
                <a:gd name="T6" fmla="*/ 119 w 398"/>
                <a:gd name="T7" fmla="*/ 17 h 481"/>
                <a:gd name="T8" fmla="*/ 135 w 398"/>
                <a:gd name="T9" fmla="*/ 33 h 481"/>
                <a:gd name="T10" fmla="*/ 145 w 398"/>
                <a:gd name="T11" fmla="*/ 51 h 481"/>
                <a:gd name="T12" fmla="*/ 150 w 398"/>
                <a:gd name="T13" fmla="*/ 77 h 481"/>
                <a:gd name="T14" fmla="*/ 159 w 398"/>
                <a:gd name="T15" fmla="*/ 60 h 481"/>
                <a:gd name="T16" fmla="*/ 172 w 398"/>
                <a:gd name="T17" fmla="*/ 43 h 481"/>
                <a:gd name="T18" fmla="*/ 188 w 398"/>
                <a:gd name="T19" fmla="*/ 29 h 481"/>
                <a:gd name="T20" fmla="*/ 205 w 398"/>
                <a:gd name="T21" fmla="*/ 19 h 481"/>
                <a:gd name="T22" fmla="*/ 225 w 398"/>
                <a:gd name="T23" fmla="*/ 10 h 481"/>
                <a:gd name="T24" fmla="*/ 246 w 398"/>
                <a:gd name="T25" fmla="*/ 3 h 481"/>
                <a:gd name="T26" fmla="*/ 290 w 398"/>
                <a:gd name="T27" fmla="*/ 0 h 481"/>
                <a:gd name="T28" fmla="*/ 319 w 398"/>
                <a:gd name="T29" fmla="*/ 0 h 481"/>
                <a:gd name="T30" fmla="*/ 348 w 398"/>
                <a:gd name="T31" fmla="*/ 7 h 481"/>
                <a:gd name="T32" fmla="*/ 374 w 398"/>
                <a:gd name="T33" fmla="*/ 17 h 481"/>
                <a:gd name="T34" fmla="*/ 398 w 398"/>
                <a:gd name="T35" fmla="*/ 33 h 481"/>
                <a:gd name="T36" fmla="*/ 354 w 398"/>
                <a:gd name="T37" fmla="*/ 115 h 481"/>
                <a:gd name="T38" fmla="*/ 355 w 398"/>
                <a:gd name="T39" fmla="*/ 115 h 481"/>
                <a:gd name="T40" fmla="*/ 318 w 398"/>
                <a:gd name="T41" fmla="*/ 101 h 481"/>
                <a:gd name="T42" fmla="*/ 278 w 398"/>
                <a:gd name="T43" fmla="*/ 96 h 481"/>
                <a:gd name="T44" fmla="*/ 254 w 398"/>
                <a:gd name="T45" fmla="*/ 98 h 481"/>
                <a:gd name="T46" fmla="*/ 232 w 398"/>
                <a:gd name="T47" fmla="*/ 103 h 481"/>
                <a:gd name="T48" fmla="*/ 212 w 398"/>
                <a:gd name="T49" fmla="*/ 111 h 481"/>
                <a:gd name="T50" fmla="*/ 195 w 398"/>
                <a:gd name="T51" fmla="*/ 123 h 481"/>
                <a:gd name="T52" fmla="*/ 179 w 398"/>
                <a:gd name="T53" fmla="*/ 140 h 481"/>
                <a:gd name="T54" fmla="*/ 167 w 398"/>
                <a:gd name="T55" fmla="*/ 159 h 481"/>
                <a:gd name="T56" fmla="*/ 160 w 398"/>
                <a:gd name="T57" fmla="*/ 181 h 481"/>
                <a:gd name="T58" fmla="*/ 157 w 398"/>
                <a:gd name="T59" fmla="*/ 209 h 481"/>
                <a:gd name="T60" fmla="*/ 157 w 398"/>
                <a:gd name="T61" fmla="*/ 481 h 481"/>
                <a:gd name="T62" fmla="*/ 51 w 398"/>
                <a:gd name="T63" fmla="*/ 481 h 481"/>
                <a:gd name="T64" fmla="*/ 51 w 398"/>
                <a:gd name="T65" fmla="*/ 139 h 481"/>
                <a:gd name="T66" fmla="*/ 51 w 398"/>
                <a:gd name="T67" fmla="*/ 111 h 481"/>
                <a:gd name="T68" fmla="*/ 49 w 398"/>
                <a:gd name="T69" fmla="*/ 104 h 481"/>
                <a:gd name="T70" fmla="*/ 48 w 398"/>
                <a:gd name="T71" fmla="*/ 98 h 481"/>
                <a:gd name="T72" fmla="*/ 46 w 398"/>
                <a:gd name="T73" fmla="*/ 91 h 481"/>
                <a:gd name="T74" fmla="*/ 41 w 398"/>
                <a:gd name="T75" fmla="*/ 87 h 481"/>
                <a:gd name="T76" fmla="*/ 37 w 398"/>
                <a:gd name="T77" fmla="*/ 82 h 481"/>
                <a:gd name="T78" fmla="*/ 31 w 398"/>
                <a:gd name="T79" fmla="*/ 80 h 481"/>
                <a:gd name="T80" fmla="*/ 17 w 398"/>
                <a:gd name="T81" fmla="*/ 79 h 481"/>
                <a:gd name="T82" fmla="*/ 2 w 398"/>
                <a:gd name="T83" fmla="*/ 77 h 481"/>
                <a:gd name="T84" fmla="*/ 0 w 398"/>
                <a:gd name="T85" fmla="*/ 5 h 481"/>
                <a:gd name="T86" fmla="*/ 53 w 398"/>
                <a:gd name="T8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481">
                  <a:moveTo>
                    <a:pt x="53" y="0"/>
                  </a:moveTo>
                  <a:lnTo>
                    <a:pt x="77" y="2"/>
                  </a:lnTo>
                  <a:lnTo>
                    <a:pt x="99" y="7"/>
                  </a:lnTo>
                  <a:lnTo>
                    <a:pt x="119" y="17"/>
                  </a:lnTo>
                  <a:lnTo>
                    <a:pt x="135" y="33"/>
                  </a:lnTo>
                  <a:lnTo>
                    <a:pt x="145" y="51"/>
                  </a:lnTo>
                  <a:lnTo>
                    <a:pt x="150" y="77"/>
                  </a:lnTo>
                  <a:lnTo>
                    <a:pt x="159" y="60"/>
                  </a:lnTo>
                  <a:lnTo>
                    <a:pt x="172" y="43"/>
                  </a:lnTo>
                  <a:lnTo>
                    <a:pt x="188" y="29"/>
                  </a:lnTo>
                  <a:lnTo>
                    <a:pt x="205" y="19"/>
                  </a:lnTo>
                  <a:lnTo>
                    <a:pt x="225" y="10"/>
                  </a:lnTo>
                  <a:lnTo>
                    <a:pt x="246" y="3"/>
                  </a:lnTo>
                  <a:lnTo>
                    <a:pt x="290" y="0"/>
                  </a:lnTo>
                  <a:lnTo>
                    <a:pt x="319" y="0"/>
                  </a:lnTo>
                  <a:lnTo>
                    <a:pt x="348" y="7"/>
                  </a:lnTo>
                  <a:lnTo>
                    <a:pt x="374" y="17"/>
                  </a:lnTo>
                  <a:lnTo>
                    <a:pt x="398" y="33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18" y="101"/>
                  </a:lnTo>
                  <a:lnTo>
                    <a:pt x="278" y="96"/>
                  </a:lnTo>
                  <a:lnTo>
                    <a:pt x="254" y="98"/>
                  </a:lnTo>
                  <a:lnTo>
                    <a:pt x="232" y="103"/>
                  </a:lnTo>
                  <a:lnTo>
                    <a:pt x="212" y="111"/>
                  </a:lnTo>
                  <a:lnTo>
                    <a:pt x="195" y="123"/>
                  </a:lnTo>
                  <a:lnTo>
                    <a:pt x="179" y="140"/>
                  </a:lnTo>
                  <a:lnTo>
                    <a:pt x="167" y="159"/>
                  </a:lnTo>
                  <a:lnTo>
                    <a:pt x="160" y="181"/>
                  </a:lnTo>
                  <a:lnTo>
                    <a:pt x="157" y="209"/>
                  </a:lnTo>
                  <a:lnTo>
                    <a:pt x="157" y="481"/>
                  </a:lnTo>
                  <a:lnTo>
                    <a:pt x="51" y="481"/>
                  </a:lnTo>
                  <a:lnTo>
                    <a:pt x="51" y="139"/>
                  </a:lnTo>
                  <a:lnTo>
                    <a:pt x="51" y="111"/>
                  </a:lnTo>
                  <a:lnTo>
                    <a:pt x="49" y="104"/>
                  </a:lnTo>
                  <a:lnTo>
                    <a:pt x="48" y="98"/>
                  </a:lnTo>
                  <a:lnTo>
                    <a:pt x="46" y="91"/>
                  </a:lnTo>
                  <a:lnTo>
                    <a:pt x="41" y="87"/>
                  </a:lnTo>
                  <a:lnTo>
                    <a:pt x="37" y="82"/>
                  </a:lnTo>
                  <a:lnTo>
                    <a:pt x="31" y="80"/>
                  </a:lnTo>
                  <a:lnTo>
                    <a:pt x="17" y="79"/>
                  </a:lnTo>
                  <a:lnTo>
                    <a:pt x="2" y="77"/>
                  </a:lnTo>
                  <a:lnTo>
                    <a:pt x="0" y="5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85" y="2133"/>
              <a:ext cx="514" cy="490"/>
            </a:xfrm>
            <a:custGeom>
              <a:avLst/>
              <a:gdLst>
                <a:gd name="T0" fmla="*/ 229 w 514"/>
                <a:gd name="T1" fmla="*/ 87 h 490"/>
                <a:gd name="T2" fmla="*/ 174 w 514"/>
                <a:gd name="T3" fmla="*/ 111 h 490"/>
                <a:gd name="T4" fmla="*/ 135 w 514"/>
                <a:gd name="T5" fmla="*/ 154 h 490"/>
                <a:gd name="T6" fmla="*/ 111 w 514"/>
                <a:gd name="T7" fmla="*/ 216 h 490"/>
                <a:gd name="T8" fmla="*/ 111 w 514"/>
                <a:gd name="T9" fmla="*/ 293 h 490"/>
                <a:gd name="T10" fmla="*/ 140 w 514"/>
                <a:gd name="T11" fmla="*/ 356 h 490"/>
                <a:gd name="T12" fmla="*/ 179 w 514"/>
                <a:gd name="T13" fmla="*/ 385 h 490"/>
                <a:gd name="T14" fmla="*/ 237 w 514"/>
                <a:gd name="T15" fmla="*/ 395 h 490"/>
                <a:gd name="T16" fmla="*/ 288 w 514"/>
                <a:gd name="T17" fmla="*/ 383 h 490"/>
                <a:gd name="T18" fmla="*/ 328 w 514"/>
                <a:gd name="T19" fmla="*/ 353 h 490"/>
                <a:gd name="T20" fmla="*/ 355 w 514"/>
                <a:gd name="T21" fmla="*/ 286 h 490"/>
                <a:gd name="T22" fmla="*/ 360 w 514"/>
                <a:gd name="T23" fmla="*/ 104 h 490"/>
                <a:gd name="T24" fmla="*/ 309 w 514"/>
                <a:gd name="T25" fmla="*/ 89 h 490"/>
                <a:gd name="T26" fmla="*/ 261 w 514"/>
                <a:gd name="T27" fmla="*/ 84 h 490"/>
                <a:gd name="T28" fmla="*/ 319 w 514"/>
                <a:gd name="T29" fmla="*/ 2 h 490"/>
                <a:gd name="T30" fmla="*/ 416 w 514"/>
                <a:gd name="T31" fmla="*/ 24 h 490"/>
                <a:gd name="T32" fmla="*/ 463 w 514"/>
                <a:gd name="T33" fmla="*/ 342 h 490"/>
                <a:gd name="T34" fmla="*/ 464 w 514"/>
                <a:gd name="T35" fmla="*/ 380 h 490"/>
                <a:gd name="T36" fmla="*/ 469 w 514"/>
                <a:gd name="T37" fmla="*/ 394 h 490"/>
                <a:gd name="T38" fmla="*/ 478 w 514"/>
                <a:gd name="T39" fmla="*/ 402 h 490"/>
                <a:gd name="T40" fmla="*/ 497 w 514"/>
                <a:gd name="T41" fmla="*/ 407 h 490"/>
                <a:gd name="T42" fmla="*/ 514 w 514"/>
                <a:gd name="T43" fmla="*/ 483 h 490"/>
                <a:gd name="T44" fmla="*/ 440 w 514"/>
                <a:gd name="T45" fmla="*/ 484 h 490"/>
                <a:gd name="T46" fmla="*/ 403 w 514"/>
                <a:gd name="T47" fmla="*/ 464 h 490"/>
                <a:gd name="T48" fmla="*/ 382 w 514"/>
                <a:gd name="T49" fmla="*/ 430 h 490"/>
                <a:gd name="T50" fmla="*/ 377 w 514"/>
                <a:gd name="T51" fmla="*/ 387 h 490"/>
                <a:gd name="T52" fmla="*/ 340 w 514"/>
                <a:gd name="T53" fmla="*/ 443 h 490"/>
                <a:gd name="T54" fmla="*/ 280 w 514"/>
                <a:gd name="T55" fmla="*/ 478 h 490"/>
                <a:gd name="T56" fmla="*/ 215 w 514"/>
                <a:gd name="T57" fmla="*/ 490 h 490"/>
                <a:gd name="T58" fmla="*/ 148 w 514"/>
                <a:gd name="T59" fmla="*/ 483 h 490"/>
                <a:gd name="T60" fmla="*/ 95 w 514"/>
                <a:gd name="T61" fmla="*/ 459 h 490"/>
                <a:gd name="T62" fmla="*/ 53 w 514"/>
                <a:gd name="T63" fmla="*/ 421 h 490"/>
                <a:gd name="T64" fmla="*/ 13 w 514"/>
                <a:gd name="T65" fmla="*/ 346 h 490"/>
                <a:gd name="T66" fmla="*/ 0 w 514"/>
                <a:gd name="T67" fmla="*/ 253 h 490"/>
                <a:gd name="T68" fmla="*/ 10 w 514"/>
                <a:gd name="T69" fmla="*/ 180 h 490"/>
                <a:gd name="T70" fmla="*/ 37 w 514"/>
                <a:gd name="T71" fmla="*/ 116 h 490"/>
                <a:gd name="T72" fmla="*/ 78 w 514"/>
                <a:gd name="T73" fmla="*/ 67 h 490"/>
                <a:gd name="T74" fmla="*/ 131 w 514"/>
                <a:gd name="T75" fmla="*/ 29 h 490"/>
                <a:gd name="T76" fmla="*/ 196 w 514"/>
                <a:gd name="T77" fmla="*/ 5 h 490"/>
                <a:gd name="T78" fmla="*/ 270 w 514"/>
                <a:gd name="T7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0">
                  <a:moveTo>
                    <a:pt x="261" y="84"/>
                  </a:moveTo>
                  <a:lnTo>
                    <a:pt x="229" y="87"/>
                  </a:lnTo>
                  <a:lnTo>
                    <a:pt x="199" y="96"/>
                  </a:lnTo>
                  <a:lnTo>
                    <a:pt x="174" y="111"/>
                  </a:lnTo>
                  <a:lnTo>
                    <a:pt x="152" y="130"/>
                  </a:lnTo>
                  <a:lnTo>
                    <a:pt x="135" y="154"/>
                  </a:lnTo>
                  <a:lnTo>
                    <a:pt x="119" y="183"/>
                  </a:lnTo>
                  <a:lnTo>
                    <a:pt x="111" y="216"/>
                  </a:lnTo>
                  <a:lnTo>
                    <a:pt x="107" y="253"/>
                  </a:lnTo>
                  <a:lnTo>
                    <a:pt x="111" y="293"/>
                  </a:lnTo>
                  <a:lnTo>
                    <a:pt x="121" y="327"/>
                  </a:lnTo>
                  <a:lnTo>
                    <a:pt x="140" y="356"/>
                  </a:lnTo>
                  <a:lnTo>
                    <a:pt x="157" y="373"/>
                  </a:lnTo>
                  <a:lnTo>
                    <a:pt x="179" y="385"/>
                  </a:lnTo>
                  <a:lnTo>
                    <a:pt x="206" y="392"/>
                  </a:lnTo>
                  <a:lnTo>
                    <a:pt x="237" y="395"/>
                  </a:lnTo>
                  <a:lnTo>
                    <a:pt x="264" y="392"/>
                  </a:lnTo>
                  <a:lnTo>
                    <a:pt x="288" y="383"/>
                  </a:lnTo>
                  <a:lnTo>
                    <a:pt x="311" y="371"/>
                  </a:lnTo>
                  <a:lnTo>
                    <a:pt x="328" y="353"/>
                  </a:lnTo>
                  <a:lnTo>
                    <a:pt x="345" y="322"/>
                  </a:lnTo>
                  <a:lnTo>
                    <a:pt x="355" y="286"/>
                  </a:lnTo>
                  <a:lnTo>
                    <a:pt x="360" y="243"/>
                  </a:lnTo>
                  <a:lnTo>
                    <a:pt x="360" y="104"/>
                  </a:lnTo>
                  <a:lnTo>
                    <a:pt x="334" y="96"/>
                  </a:lnTo>
                  <a:lnTo>
                    <a:pt x="309" y="89"/>
                  </a:lnTo>
                  <a:lnTo>
                    <a:pt x="285" y="86"/>
                  </a:lnTo>
                  <a:lnTo>
                    <a:pt x="261" y="84"/>
                  </a:lnTo>
                  <a:close/>
                  <a:moveTo>
                    <a:pt x="270" y="0"/>
                  </a:moveTo>
                  <a:lnTo>
                    <a:pt x="319" y="2"/>
                  </a:lnTo>
                  <a:lnTo>
                    <a:pt x="369" y="10"/>
                  </a:lnTo>
                  <a:lnTo>
                    <a:pt x="416" y="24"/>
                  </a:lnTo>
                  <a:lnTo>
                    <a:pt x="463" y="43"/>
                  </a:lnTo>
                  <a:lnTo>
                    <a:pt x="463" y="342"/>
                  </a:lnTo>
                  <a:lnTo>
                    <a:pt x="464" y="371"/>
                  </a:lnTo>
                  <a:lnTo>
                    <a:pt x="464" y="380"/>
                  </a:lnTo>
                  <a:lnTo>
                    <a:pt x="466" y="387"/>
                  </a:lnTo>
                  <a:lnTo>
                    <a:pt x="469" y="394"/>
                  </a:lnTo>
                  <a:lnTo>
                    <a:pt x="473" y="399"/>
                  </a:lnTo>
                  <a:lnTo>
                    <a:pt x="478" y="402"/>
                  </a:lnTo>
                  <a:lnTo>
                    <a:pt x="485" y="406"/>
                  </a:lnTo>
                  <a:lnTo>
                    <a:pt x="497" y="407"/>
                  </a:lnTo>
                  <a:lnTo>
                    <a:pt x="514" y="407"/>
                  </a:lnTo>
                  <a:lnTo>
                    <a:pt x="514" y="483"/>
                  </a:lnTo>
                  <a:lnTo>
                    <a:pt x="464" y="488"/>
                  </a:lnTo>
                  <a:lnTo>
                    <a:pt x="440" y="484"/>
                  </a:lnTo>
                  <a:lnTo>
                    <a:pt x="420" y="478"/>
                  </a:lnTo>
                  <a:lnTo>
                    <a:pt x="403" y="464"/>
                  </a:lnTo>
                  <a:lnTo>
                    <a:pt x="389" y="445"/>
                  </a:lnTo>
                  <a:lnTo>
                    <a:pt x="382" y="430"/>
                  </a:lnTo>
                  <a:lnTo>
                    <a:pt x="379" y="411"/>
                  </a:lnTo>
                  <a:lnTo>
                    <a:pt x="377" y="387"/>
                  </a:lnTo>
                  <a:lnTo>
                    <a:pt x="360" y="418"/>
                  </a:lnTo>
                  <a:lnTo>
                    <a:pt x="340" y="443"/>
                  </a:lnTo>
                  <a:lnTo>
                    <a:pt x="312" y="464"/>
                  </a:lnTo>
                  <a:lnTo>
                    <a:pt x="280" y="478"/>
                  </a:lnTo>
                  <a:lnTo>
                    <a:pt x="247" y="488"/>
                  </a:lnTo>
                  <a:lnTo>
                    <a:pt x="215" y="490"/>
                  </a:lnTo>
                  <a:lnTo>
                    <a:pt x="179" y="488"/>
                  </a:lnTo>
                  <a:lnTo>
                    <a:pt x="148" y="483"/>
                  </a:lnTo>
                  <a:lnTo>
                    <a:pt x="119" y="472"/>
                  </a:lnTo>
                  <a:lnTo>
                    <a:pt x="95" y="459"/>
                  </a:lnTo>
                  <a:lnTo>
                    <a:pt x="73" y="442"/>
                  </a:lnTo>
                  <a:lnTo>
                    <a:pt x="53" y="421"/>
                  </a:lnTo>
                  <a:lnTo>
                    <a:pt x="30" y="387"/>
                  </a:lnTo>
                  <a:lnTo>
                    <a:pt x="13" y="346"/>
                  </a:lnTo>
                  <a:lnTo>
                    <a:pt x="3" y="301"/>
                  </a:lnTo>
                  <a:lnTo>
                    <a:pt x="0" y="253"/>
                  </a:lnTo>
                  <a:lnTo>
                    <a:pt x="3" y="214"/>
                  </a:lnTo>
                  <a:lnTo>
                    <a:pt x="10" y="180"/>
                  </a:lnTo>
                  <a:lnTo>
                    <a:pt x="22" y="147"/>
                  </a:lnTo>
                  <a:lnTo>
                    <a:pt x="37" y="116"/>
                  </a:lnTo>
                  <a:lnTo>
                    <a:pt x="56" y="89"/>
                  </a:lnTo>
                  <a:lnTo>
                    <a:pt x="78" y="67"/>
                  </a:lnTo>
                  <a:lnTo>
                    <a:pt x="104" y="46"/>
                  </a:lnTo>
                  <a:lnTo>
                    <a:pt x="131" y="29"/>
                  </a:lnTo>
                  <a:lnTo>
                    <a:pt x="162" y="15"/>
                  </a:lnTo>
                  <a:lnTo>
                    <a:pt x="196" y="5"/>
                  </a:lnTo>
                  <a:lnTo>
                    <a:pt x="232" y="0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428" y="2133"/>
              <a:ext cx="497" cy="481"/>
            </a:xfrm>
            <a:custGeom>
              <a:avLst/>
              <a:gdLst>
                <a:gd name="T0" fmla="*/ 309 w 497"/>
                <a:gd name="T1" fmla="*/ 0 h 481"/>
                <a:gd name="T2" fmla="*/ 340 w 497"/>
                <a:gd name="T3" fmla="*/ 2 h 481"/>
                <a:gd name="T4" fmla="*/ 367 w 497"/>
                <a:gd name="T5" fmla="*/ 7 h 481"/>
                <a:gd name="T6" fmla="*/ 393 w 497"/>
                <a:gd name="T7" fmla="*/ 15 h 481"/>
                <a:gd name="T8" fmla="*/ 425 w 497"/>
                <a:gd name="T9" fmla="*/ 34 h 481"/>
                <a:gd name="T10" fmla="*/ 451 w 497"/>
                <a:gd name="T11" fmla="*/ 58 h 481"/>
                <a:gd name="T12" fmla="*/ 471 w 497"/>
                <a:gd name="T13" fmla="*/ 87 h 481"/>
                <a:gd name="T14" fmla="*/ 485 w 497"/>
                <a:gd name="T15" fmla="*/ 122 h 481"/>
                <a:gd name="T16" fmla="*/ 494 w 497"/>
                <a:gd name="T17" fmla="*/ 161 h 481"/>
                <a:gd name="T18" fmla="*/ 497 w 497"/>
                <a:gd name="T19" fmla="*/ 204 h 481"/>
                <a:gd name="T20" fmla="*/ 497 w 497"/>
                <a:gd name="T21" fmla="*/ 481 h 481"/>
                <a:gd name="T22" fmla="*/ 389 w 497"/>
                <a:gd name="T23" fmla="*/ 481 h 481"/>
                <a:gd name="T24" fmla="*/ 389 w 497"/>
                <a:gd name="T25" fmla="*/ 204 h 481"/>
                <a:gd name="T26" fmla="*/ 386 w 497"/>
                <a:gd name="T27" fmla="*/ 170 h 481"/>
                <a:gd name="T28" fmla="*/ 376 w 497"/>
                <a:gd name="T29" fmla="*/ 140 h 481"/>
                <a:gd name="T30" fmla="*/ 359 w 497"/>
                <a:gd name="T31" fmla="*/ 116 h 481"/>
                <a:gd name="T32" fmla="*/ 335 w 497"/>
                <a:gd name="T33" fmla="*/ 99 h 481"/>
                <a:gd name="T34" fmla="*/ 309 w 497"/>
                <a:gd name="T35" fmla="*/ 89 h 481"/>
                <a:gd name="T36" fmla="*/ 278 w 497"/>
                <a:gd name="T37" fmla="*/ 84 h 481"/>
                <a:gd name="T38" fmla="*/ 254 w 497"/>
                <a:gd name="T39" fmla="*/ 87 h 481"/>
                <a:gd name="T40" fmla="*/ 231 w 497"/>
                <a:gd name="T41" fmla="*/ 94 h 481"/>
                <a:gd name="T42" fmla="*/ 210 w 497"/>
                <a:gd name="T43" fmla="*/ 104 h 481"/>
                <a:gd name="T44" fmla="*/ 193 w 497"/>
                <a:gd name="T45" fmla="*/ 120 h 481"/>
                <a:gd name="T46" fmla="*/ 179 w 497"/>
                <a:gd name="T47" fmla="*/ 139 h 481"/>
                <a:gd name="T48" fmla="*/ 167 w 497"/>
                <a:gd name="T49" fmla="*/ 161 h 481"/>
                <a:gd name="T50" fmla="*/ 160 w 497"/>
                <a:gd name="T51" fmla="*/ 185 h 481"/>
                <a:gd name="T52" fmla="*/ 159 w 497"/>
                <a:gd name="T53" fmla="*/ 212 h 481"/>
                <a:gd name="T54" fmla="*/ 159 w 497"/>
                <a:gd name="T55" fmla="*/ 481 h 481"/>
                <a:gd name="T56" fmla="*/ 51 w 497"/>
                <a:gd name="T57" fmla="*/ 481 h 481"/>
                <a:gd name="T58" fmla="*/ 51 w 497"/>
                <a:gd name="T59" fmla="*/ 146 h 481"/>
                <a:gd name="T60" fmla="*/ 51 w 497"/>
                <a:gd name="T61" fmla="*/ 127 h 481"/>
                <a:gd name="T62" fmla="*/ 49 w 497"/>
                <a:gd name="T63" fmla="*/ 111 h 481"/>
                <a:gd name="T64" fmla="*/ 49 w 497"/>
                <a:gd name="T65" fmla="*/ 103 h 481"/>
                <a:gd name="T66" fmla="*/ 46 w 497"/>
                <a:gd name="T67" fmla="*/ 96 h 481"/>
                <a:gd name="T68" fmla="*/ 44 w 497"/>
                <a:gd name="T69" fmla="*/ 91 h 481"/>
                <a:gd name="T70" fmla="*/ 39 w 497"/>
                <a:gd name="T71" fmla="*/ 87 h 481"/>
                <a:gd name="T72" fmla="*/ 36 w 497"/>
                <a:gd name="T73" fmla="*/ 84 h 481"/>
                <a:gd name="T74" fmla="*/ 29 w 497"/>
                <a:gd name="T75" fmla="*/ 80 h 481"/>
                <a:gd name="T76" fmla="*/ 17 w 497"/>
                <a:gd name="T77" fmla="*/ 80 h 481"/>
                <a:gd name="T78" fmla="*/ 0 w 497"/>
                <a:gd name="T79" fmla="*/ 80 h 481"/>
                <a:gd name="T80" fmla="*/ 0 w 497"/>
                <a:gd name="T81" fmla="*/ 7 h 481"/>
                <a:gd name="T82" fmla="*/ 53 w 497"/>
                <a:gd name="T83" fmla="*/ 0 h 481"/>
                <a:gd name="T84" fmla="*/ 78 w 497"/>
                <a:gd name="T85" fmla="*/ 0 h 481"/>
                <a:gd name="T86" fmla="*/ 101 w 497"/>
                <a:gd name="T87" fmla="*/ 5 h 481"/>
                <a:gd name="T88" fmla="*/ 119 w 497"/>
                <a:gd name="T89" fmla="*/ 14 h 481"/>
                <a:gd name="T90" fmla="*/ 135 w 497"/>
                <a:gd name="T91" fmla="*/ 29 h 481"/>
                <a:gd name="T92" fmla="*/ 143 w 497"/>
                <a:gd name="T93" fmla="*/ 43 h 481"/>
                <a:gd name="T94" fmla="*/ 147 w 497"/>
                <a:gd name="T95" fmla="*/ 60 h 481"/>
                <a:gd name="T96" fmla="*/ 149 w 497"/>
                <a:gd name="T97" fmla="*/ 80 h 481"/>
                <a:gd name="T98" fmla="*/ 160 w 497"/>
                <a:gd name="T99" fmla="*/ 60 h 481"/>
                <a:gd name="T100" fmla="*/ 176 w 497"/>
                <a:gd name="T101" fmla="*/ 43 h 481"/>
                <a:gd name="T102" fmla="*/ 195 w 497"/>
                <a:gd name="T103" fmla="*/ 29 h 481"/>
                <a:gd name="T104" fmla="*/ 215 w 497"/>
                <a:gd name="T105" fmla="*/ 17 h 481"/>
                <a:gd name="T106" fmla="*/ 239 w 497"/>
                <a:gd name="T107" fmla="*/ 9 h 481"/>
                <a:gd name="T108" fmla="*/ 261 w 497"/>
                <a:gd name="T109" fmla="*/ 3 h 481"/>
                <a:gd name="T110" fmla="*/ 309 w 497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7" h="481">
                  <a:moveTo>
                    <a:pt x="309" y="0"/>
                  </a:moveTo>
                  <a:lnTo>
                    <a:pt x="340" y="2"/>
                  </a:lnTo>
                  <a:lnTo>
                    <a:pt x="367" y="7"/>
                  </a:lnTo>
                  <a:lnTo>
                    <a:pt x="393" y="15"/>
                  </a:lnTo>
                  <a:lnTo>
                    <a:pt x="425" y="34"/>
                  </a:lnTo>
                  <a:lnTo>
                    <a:pt x="451" y="58"/>
                  </a:lnTo>
                  <a:lnTo>
                    <a:pt x="471" y="87"/>
                  </a:lnTo>
                  <a:lnTo>
                    <a:pt x="485" y="122"/>
                  </a:lnTo>
                  <a:lnTo>
                    <a:pt x="494" y="161"/>
                  </a:lnTo>
                  <a:lnTo>
                    <a:pt x="497" y="204"/>
                  </a:lnTo>
                  <a:lnTo>
                    <a:pt x="497" y="481"/>
                  </a:lnTo>
                  <a:lnTo>
                    <a:pt x="389" y="481"/>
                  </a:lnTo>
                  <a:lnTo>
                    <a:pt x="389" y="204"/>
                  </a:lnTo>
                  <a:lnTo>
                    <a:pt x="386" y="170"/>
                  </a:lnTo>
                  <a:lnTo>
                    <a:pt x="376" y="140"/>
                  </a:lnTo>
                  <a:lnTo>
                    <a:pt x="359" y="116"/>
                  </a:lnTo>
                  <a:lnTo>
                    <a:pt x="335" y="99"/>
                  </a:lnTo>
                  <a:lnTo>
                    <a:pt x="309" y="89"/>
                  </a:lnTo>
                  <a:lnTo>
                    <a:pt x="278" y="84"/>
                  </a:lnTo>
                  <a:lnTo>
                    <a:pt x="254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3" y="120"/>
                  </a:lnTo>
                  <a:lnTo>
                    <a:pt x="179" y="139"/>
                  </a:lnTo>
                  <a:lnTo>
                    <a:pt x="167" y="161"/>
                  </a:lnTo>
                  <a:lnTo>
                    <a:pt x="160" y="185"/>
                  </a:lnTo>
                  <a:lnTo>
                    <a:pt x="159" y="212"/>
                  </a:lnTo>
                  <a:lnTo>
                    <a:pt x="159" y="481"/>
                  </a:lnTo>
                  <a:lnTo>
                    <a:pt x="51" y="481"/>
                  </a:lnTo>
                  <a:lnTo>
                    <a:pt x="51" y="146"/>
                  </a:lnTo>
                  <a:lnTo>
                    <a:pt x="51" y="127"/>
                  </a:lnTo>
                  <a:lnTo>
                    <a:pt x="49" y="111"/>
                  </a:lnTo>
                  <a:lnTo>
                    <a:pt x="49" y="103"/>
                  </a:lnTo>
                  <a:lnTo>
                    <a:pt x="46" y="96"/>
                  </a:lnTo>
                  <a:lnTo>
                    <a:pt x="44" y="91"/>
                  </a:lnTo>
                  <a:lnTo>
                    <a:pt x="39" y="87"/>
                  </a:lnTo>
                  <a:lnTo>
                    <a:pt x="36" y="84"/>
                  </a:lnTo>
                  <a:lnTo>
                    <a:pt x="29" y="80"/>
                  </a:lnTo>
                  <a:lnTo>
                    <a:pt x="17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3" y="0"/>
                  </a:lnTo>
                  <a:lnTo>
                    <a:pt x="78" y="0"/>
                  </a:lnTo>
                  <a:lnTo>
                    <a:pt x="101" y="5"/>
                  </a:lnTo>
                  <a:lnTo>
                    <a:pt x="119" y="14"/>
                  </a:lnTo>
                  <a:lnTo>
                    <a:pt x="135" y="29"/>
                  </a:lnTo>
                  <a:lnTo>
                    <a:pt x="143" y="43"/>
                  </a:lnTo>
                  <a:lnTo>
                    <a:pt x="147" y="60"/>
                  </a:lnTo>
                  <a:lnTo>
                    <a:pt x="149" y="80"/>
                  </a:lnTo>
                  <a:lnTo>
                    <a:pt x="160" y="60"/>
                  </a:lnTo>
                  <a:lnTo>
                    <a:pt x="176" y="43"/>
                  </a:lnTo>
                  <a:lnTo>
                    <a:pt x="195" y="29"/>
                  </a:lnTo>
                  <a:lnTo>
                    <a:pt x="215" y="17"/>
                  </a:lnTo>
                  <a:lnTo>
                    <a:pt x="239" y="9"/>
                  </a:lnTo>
                  <a:lnTo>
                    <a:pt x="261" y="3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1993" y="2131"/>
              <a:ext cx="424" cy="495"/>
            </a:xfrm>
            <a:custGeom>
              <a:avLst/>
              <a:gdLst>
                <a:gd name="T0" fmla="*/ 253 w 424"/>
                <a:gd name="T1" fmla="*/ 2 h 495"/>
                <a:gd name="T2" fmla="*/ 325 w 424"/>
                <a:gd name="T3" fmla="*/ 21 h 495"/>
                <a:gd name="T4" fmla="*/ 380 w 424"/>
                <a:gd name="T5" fmla="*/ 57 h 495"/>
                <a:gd name="T6" fmla="*/ 410 w 424"/>
                <a:gd name="T7" fmla="*/ 110 h 495"/>
                <a:gd name="T8" fmla="*/ 320 w 424"/>
                <a:gd name="T9" fmla="*/ 142 h 495"/>
                <a:gd name="T10" fmla="*/ 310 w 424"/>
                <a:gd name="T11" fmla="*/ 113 h 495"/>
                <a:gd name="T12" fmla="*/ 294 w 424"/>
                <a:gd name="T13" fmla="*/ 100 h 495"/>
                <a:gd name="T14" fmla="*/ 269 w 424"/>
                <a:gd name="T15" fmla="*/ 88 h 495"/>
                <a:gd name="T16" fmla="*/ 212 w 424"/>
                <a:gd name="T17" fmla="*/ 81 h 495"/>
                <a:gd name="T18" fmla="*/ 159 w 424"/>
                <a:gd name="T19" fmla="*/ 91 h 495"/>
                <a:gd name="T20" fmla="*/ 135 w 424"/>
                <a:gd name="T21" fmla="*/ 105 h 495"/>
                <a:gd name="T22" fmla="*/ 123 w 424"/>
                <a:gd name="T23" fmla="*/ 118 h 495"/>
                <a:gd name="T24" fmla="*/ 115 w 424"/>
                <a:gd name="T25" fmla="*/ 146 h 495"/>
                <a:gd name="T26" fmla="*/ 129 w 424"/>
                <a:gd name="T27" fmla="*/ 177 h 495"/>
                <a:gd name="T28" fmla="*/ 166 w 424"/>
                <a:gd name="T29" fmla="*/ 192 h 495"/>
                <a:gd name="T30" fmla="*/ 228 w 424"/>
                <a:gd name="T31" fmla="*/ 204 h 495"/>
                <a:gd name="T32" fmla="*/ 334 w 424"/>
                <a:gd name="T33" fmla="*/ 225 h 495"/>
                <a:gd name="T34" fmla="*/ 388 w 424"/>
                <a:gd name="T35" fmla="*/ 254 h 495"/>
                <a:gd name="T36" fmla="*/ 416 w 424"/>
                <a:gd name="T37" fmla="*/ 296 h 495"/>
                <a:gd name="T38" fmla="*/ 424 w 424"/>
                <a:gd name="T39" fmla="*/ 344 h 495"/>
                <a:gd name="T40" fmla="*/ 416 w 424"/>
                <a:gd name="T41" fmla="*/ 392 h 495"/>
                <a:gd name="T42" fmla="*/ 385 w 424"/>
                <a:gd name="T43" fmla="*/ 439 h 495"/>
                <a:gd name="T44" fmla="*/ 328 w 424"/>
                <a:gd name="T45" fmla="*/ 474 h 495"/>
                <a:gd name="T46" fmla="*/ 257 w 424"/>
                <a:gd name="T47" fmla="*/ 493 h 495"/>
                <a:gd name="T48" fmla="*/ 178 w 424"/>
                <a:gd name="T49" fmla="*/ 493 h 495"/>
                <a:gd name="T50" fmla="*/ 105 w 424"/>
                <a:gd name="T51" fmla="*/ 480 h 495"/>
                <a:gd name="T52" fmla="*/ 47 w 424"/>
                <a:gd name="T53" fmla="*/ 444 h 495"/>
                <a:gd name="T54" fmla="*/ 12 w 424"/>
                <a:gd name="T55" fmla="*/ 396 h 495"/>
                <a:gd name="T56" fmla="*/ 0 w 424"/>
                <a:gd name="T57" fmla="*/ 344 h 495"/>
                <a:gd name="T58" fmla="*/ 110 w 424"/>
                <a:gd name="T59" fmla="*/ 361 h 495"/>
                <a:gd name="T60" fmla="*/ 123 w 424"/>
                <a:gd name="T61" fmla="*/ 384 h 495"/>
                <a:gd name="T62" fmla="*/ 142 w 424"/>
                <a:gd name="T63" fmla="*/ 397 h 495"/>
                <a:gd name="T64" fmla="*/ 175 w 424"/>
                <a:gd name="T65" fmla="*/ 411 h 495"/>
                <a:gd name="T66" fmla="*/ 253 w 424"/>
                <a:gd name="T67" fmla="*/ 413 h 495"/>
                <a:gd name="T68" fmla="*/ 289 w 424"/>
                <a:gd name="T69" fmla="*/ 401 h 495"/>
                <a:gd name="T70" fmla="*/ 308 w 424"/>
                <a:gd name="T71" fmla="*/ 387 h 495"/>
                <a:gd name="T72" fmla="*/ 323 w 424"/>
                <a:gd name="T73" fmla="*/ 363 h 495"/>
                <a:gd name="T74" fmla="*/ 323 w 424"/>
                <a:gd name="T75" fmla="*/ 324 h 495"/>
                <a:gd name="T76" fmla="*/ 298 w 424"/>
                <a:gd name="T77" fmla="*/ 298 h 495"/>
                <a:gd name="T78" fmla="*/ 221 w 424"/>
                <a:gd name="T79" fmla="*/ 279 h 495"/>
                <a:gd name="T80" fmla="*/ 113 w 424"/>
                <a:gd name="T81" fmla="*/ 261 h 495"/>
                <a:gd name="T82" fmla="*/ 53 w 424"/>
                <a:gd name="T83" fmla="*/ 233 h 495"/>
                <a:gd name="T84" fmla="*/ 21 w 424"/>
                <a:gd name="T85" fmla="*/ 195 h 495"/>
                <a:gd name="T86" fmla="*/ 12 w 424"/>
                <a:gd name="T87" fmla="*/ 149 h 495"/>
                <a:gd name="T88" fmla="*/ 19 w 424"/>
                <a:gd name="T89" fmla="*/ 103 h 495"/>
                <a:gd name="T90" fmla="*/ 48 w 424"/>
                <a:gd name="T91" fmla="*/ 57 h 495"/>
                <a:gd name="T92" fmla="*/ 105 w 424"/>
                <a:gd name="T93" fmla="*/ 21 h 495"/>
                <a:gd name="T94" fmla="*/ 175 w 424"/>
                <a:gd name="T95" fmla="*/ 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495">
                  <a:moveTo>
                    <a:pt x="212" y="0"/>
                  </a:moveTo>
                  <a:lnTo>
                    <a:pt x="253" y="2"/>
                  </a:lnTo>
                  <a:lnTo>
                    <a:pt x="291" y="9"/>
                  </a:lnTo>
                  <a:lnTo>
                    <a:pt x="325" y="21"/>
                  </a:lnTo>
                  <a:lnTo>
                    <a:pt x="356" y="36"/>
                  </a:lnTo>
                  <a:lnTo>
                    <a:pt x="380" y="57"/>
                  </a:lnTo>
                  <a:lnTo>
                    <a:pt x="398" y="81"/>
                  </a:lnTo>
                  <a:lnTo>
                    <a:pt x="410" y="110"/>
                  </a:lnTo>
                  <a:lnTo>
                    <a:pt x="414" y="142"/>
                  </a:lnTo>
                  <a:lnTo>
                    <a:pt x="320" y="142"/>
                  </a:lnTo>
                  <a:lnTo>
                    <a:pt x="316" y="127"/>
                  </a:lnTo>
                  <a:lnTo>
                    <a:pt x="310" y="113"/>
                  </a:lnTo>
                  <a:lnTo>
                    <a:pt x="303" y="106"/>
                  </a:lnTo>
                  <a:lnTo>
                    <a:pt x="294" y="100"/>
                  </a:lnTo>
                  <a:lnTo>
                    <a:pt x="284" y="94"/>
                  </a:lnTo>
                  <a:lnTo>
                    <a:pt x="269" y="88"/>
                  </a:lnTo>
                  <a:lnTo>
                    <a:pt x="250" y="84"/>
                  </a:lnTo>
                  <a:lnTo>
                    <a:pt x="212" y="81"/>
                  </a:lnTo>
                  <a:lnTo>
                    <a:pt x="176" y="86"/>
                  </a:lnTo>
                  <a:lnTo>
                    <a:pt x="159" y="91"/>
                  </a:lnTo>
                  <a:lnTo>
                    <a:pt x="144" y="98"/>
                  </a:lnTo>
                  <a:lnTo>
                    <a:pt x="135" y="105"/>
                  </a:lnTo>
                  <a:lnTo>
                    <a:pt x="129" y="112"/>
                  </a:lnTo>
                  <a:lnTo>
                    <a:pt x="123" y="118"/>
                  </a:lnTo>
                  <a:lnTo>
                    <a:pt x="117" y="132"/>
                  </a:lnTo>
                  <a:lnTo>
                    <a:pt x="115" y="146"/>
                  </a:lnTo>
                  <a:lnTo>
                    <a:pt x="120" y="165"/>
                  </a:lnTo>
                  <a:lnTo>
                    <a:pt x="129" y="177"/>
                  </a:lnTo>
                  <a:lnTo>
                    <a:pt x="144" y="187"/>
                  </a:lnTo>
                  <a:lnTo>
                    <a:pt x="166" y="192"/>
                  </a:lnTo>
                  <a:lnTo>
                    <a:pt x="193" y="199"/>
                  </a:lnTo>
                  <a:lnTo>
                    <a:pt x="228" y="204"/>
                  </a:lnTo>
                  <a:lnTo>
                    <a:pt x="301" y="216"/>
                  </a:lnTo>
                  <a:lnTo>
                    <a:pt x="334" y="225"/>
                  </a:lnTo>
                  <a:lnTo>
                    <a:pt x="363" y="237"/>
                  </a:lnTo>
                  <a:lnTo>
                    <a:pt x="388" y="254"/>
                  </a:lnTo>
                  <a:lnTo>
                    <a:pt x="407" y="278"/>
                  </a:lnTo>
                  <a:lnTo>
                    <a:pt x="416" y="296"/>
                  </a:lnTo>
                  <a:lnTo>
                    <a:pt x="422" y="319"/>
                  </a:lnTo>
                  <a:lnTo>
                    <a:pt x="424" y="344"/>
                  </a:lnTo>
                  <a:lnTo>
                    <a:pt x="421" y="370"/>
                  </a:lnTo>
                  <a:lnTo>
                    <a:pt x="416" y="392"/>
                  </a:lnTo>
                  <a:lnTo>
                    <a:pt x="405" y="413"/>
                  </a:lnTo>
                  <a:lnTo>
                    <a:pt x="385" y="439"/>
                  </a:lnTo>
                  <a:lnTo>
                    <a:pt x="359" y="459"/>
                  </a:lnTo>
                  <a:lnTo>
                    <a:pt x="328" y="474"/>
                  </a:lnTo>
                  <a:lnTo>
                    <a:pt x="294" y="486"/>
                  </a:lnTo>
                  <a:lnTo>
                    <a:pt x="257" y="493"/>
                  </a:lnTo>
                  <a:lnTo>
                    <a:pt x="217" y="495"/>
                  </a:lnTo>
                  <a:lnTo>
                    <a:pt x="178" y="493"/>
                  </a:lnTo>
                  <a:lnTo>
                    <a:pt x="140" y="488"/>
                  </a:lnTo>
                  <a:lnTo>
                    <a:pt x="105" y="480"/>
                  </a:lnTo>
                  <a:lnTo>
                    <a:pt x="74" y="464"/>
                  </a:lnTo>
                  <a:lnTo>
                    <a:pt x="47" y="444"/>
                  </a:lnTo>
                  <a:lnTo>
                    <a:pt x="24" y="416"/>
                  </a:lnTo>
                  <a:lnTo>
                    <a:pt x="12" y="396"/>
                  </a:lnTo>
                  <a:lnTo>
                    <a:pt x="6" y="372"/>
                  </a:lnTo>
                  <a:lnTo>
                    <a:pt x="0" y="344"/>
                  </a:lnTo>
                  <a:lnTo>
                    <a:pt x="106" y="344"/>
                  </a:lnTo>
                  <a:lnTo>
                    <a:pt x="110" y="361"/>
                  </a:lnTo>
                  <a:lnTo>
                    <a:pt x="117" y="375"/>
                  </a:lnTo>
                  <a:lnTo>
                    <a:pt x="123" y="384"/>
                  </a:lnTo>
                  <a:lnTo>
                    <a:pt x="132" y="392"/>
                  </a:lnTo>
                  <a:lnTo>
                    <a:pt x="142" y="397"/>
                  </a:lnTo>
                  <a:lnTo>
                    <a:pt x="158" y="406"/>
                  </a:lnTo>
                  <a:lnTo>
                    <a:pt x="175" y="411"/>
                  </a:lnTo>
                  <a:lnTo>
                    <a:pt x="214" y="416"/>
                  </a:lnTo>
                  <a:lnTo>
                    <a:pt x="253" y="413"/>
                  </a:lnTo>
                  <a:lnTo>
                    <a:pt x="272" y="408"/>
                  </a:lnTo>
                  <a:lnTo>
                    <a:pt x="289" y="401"/>
                  </a:lnTo>
                  <a:lnTo>
                    <a:pt x="299" y="396"/>
                  </a:lnTo>
                  <a:lnTo>
                    <a:pt x="308" y="387"/>
                  </a:lnTo>
                  <a:lnTo>
                    <a:pt x="315" y="379"/>
                  </a:lnTo>
                  <a:lnTo>
                    <a:pt x="323" y="363"/>
                  </a:lnTo>
                  <a:lnTo>
                    <a:pt x="327" y="343"/>
                  </a:lnTo>
                  <a:lnTo>
                    <a:pt x="323" y="324"/>
                  </a:lnTo>
                  <a:lnTo>
                    <a:pt x="313" y="308"/>
                  </a:lnTo>
                  <a:lnTo>
                    <a:pt x="298" y="298"/>
                  </a:lnTo>
                  <a:lnTo>
                    <a:pt x="263" y="286"/>
                  </a:lnTo>
                  <a:lnTo>
                    <a:pt x="221" y="279"/>
                  </a:lnTo>
                  <a:lnTo>
                    <a:pt x="147" y="269"/>
                  </a:lnTo>
                  <a:lnTo>
                    <a:pt x="113" y="261"/>
                  </a:lnTo>
                  <a:lnTo>
                    <a:pt x="81" y="249"/>
                  </a:lnTo>
                  <a:lnTo>
                    <a:pt x="53" y="233"/>
                  </a:lnTo>
                  <a:lnTo>
                    <a:pt x="31" y="213"/>
                  </a:lnTo>
                  <a:lnTo>
                    <a:pt x="21" y="195"/>
                  </a:lnTo>
                  <a:lnTo>
                    <a:pt x="14" y="173"/>
                  </a:lnTo>
                  <a:lnTo>
                    <a:pt x="12" y="149"/>
                  </a:lnTo>
                  <a:lnTo>
                    <a:pt x="14" y="124"/>
                  </a:lnTo>
                  <a:lnTo>
                    <a:pt x="19" y="103"/>
                  </a:lnTo>
                  <a:lnTo>
                    <a:pt x="29" y="82"/>
                  </a:lnTo>
                  <a:lnTo>
                    <a:pt x="48" y="57"/>
                  </a:lnTo>
                  <a:lnTo>
                    <a:pt x="74" y="36"/>
                  </a:lnTo>
                  <a:lnTo>
                    <a:pt x="105" y="21"/>
                  </a:lnTo>
                  <a:lnTo>
                    <a:pt x="139" y="9"/>
                  </a:lnTo>
                  <a:lnTo>
                    <a:pt x="17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3102" y="2133"/>
              <a:ext cx="496" cy="481"/>
            </a:xfrm>
            <a:custGeom>
              <a:avLst/>
              <a:gdLst>
                <a:gd name="T0" fmla="*/ 308 w 496"/>
                <a:gd name="T1" fmla="*/ 0 h 481"/>
                <a:gd name="T2" fmla="*/ 338 w 496"/>
                <a:gd name="T3" fmla="*/ 2 h 481"/>
                <a:gd name="T4" fmla="*/ 366 w 496"/>
                <a:gd name="T5" fmla="*/ 7 h 481"/>
                <a:gd name="T6" fmla="*/ 391 w 496"/>
                <a:gd name="T7" fmla="*/ 15 h 481"/>
                <a:gd name="T8" fmla="*/ 424 w 496"/>
                <a:gd name="T9" fmla="*/ 34 h 481"/>
                <a:gd name="T10" fmla="*/ 450 w 496"/>
                <a:gd name="T11" fmla="*/ 58 h 481"/>
                <a:gd name="T12" fmla="*/ 470 w 496"/>
                <a:gd name="T13" fmla="*/ 87 h 481"/>
                <a:gd name="T14" fmla="*/ 484 w 496"/>
                <a:gd name="T15" fmla="*/ 122 h 481"/>
                <a:gd name="T16" fmla="*/ 492 w 496"/>
                <a:gd name="T17" fmla="*/ 161 h 481"/>
                <a:gd name="T18" fmla="*/ 496 w 496"/>
                <a:gd name="T19" fmla="*/ 204 h 481"/>
                <a:gd name="T20" fmla="*/ 496 w 496"/>
                <a:gd name="T21" fmla="*/ 481 h 481"/>
                <a:gd name="T22" fmla="*/ 388 w 496"/>
                <a:gd name="T23" fmla="*/ 481 h 481"/>
                <a:gd name="T24" fmla="*/ 388 w 496"/>
                <a:gd name="T25" fmla="*/ 204 h 481"/>
                <a:gd name="T26" fmla="*/ 385 w 496"/>
                <a:gd name="T27" fmla="*/ 170 h 481"/>
                <a:gd name="T28" fmla="*/ 374 w 496"/>
                <a:gd name="T29" fmla="*/ 140 h 481"/>
                <a:gd name="T30" fmla="*/ 357 w 496"/>
                <a:gd name="T31" fmla="*/ 116 h 481"/>
                <a:gd name="T32" fmla="*/ 333 w 496"/>
                <a:gd name="T33" fmla="*/ 99 h 481"/>
                <a:gd name="T34" fmla="*/ 308 w 496"/>
                <a:gd name="T35" fmla="*/ 89 h 481"/>
                <a:gd name="T36" fmla="*/ 277 w 496"/>
                <a:gd name="T37" fmla="*/ 84 h 481"/>
                <a:gd name="T38" fmla="*/ 253 w 496"/>
                <a:gd name="T39" fmla="*/ 87 h 481"/>
                <a:gd name="T40" fmla="*/ 229 w 496"/>
                <a:gd name="T41" fmla="*/ 94 h 481"/>
                <a:gd name="T42" fmla="*/ 210 w 496"/>
                <a:gd name="T43" fmla="*/ 104 h 481"/>
                <a:gd name="T44" fmla="*/ 192 w 496"/>
                <a:gd name="T45" fmla="*/ 120 h 481"/>
                <a:gd name="T46" fmla="*/ 178 w 496"/>
                <a:gd name="T47" fmla="*/ 139 h 481"/>
                <a:gd name="T48" fmla="*/ 166 w 496"/>
                <a:gd name="T49" fmla="*/ 161 h 481"/>
                <a:gd name="T50" fmla="*/ 159 w 496"/>
                <a:gd name="T51" fmla="*/ 185 h 481"/>
                <a:gd name="T52" fmla="*/ 157 w 496"/>
                <a:gd name="T53" fmla="*/ 212 h 481"/>
                <a:gd name="T54" fmla="*/ 157 w 496"/>
                <a:gd name="T55" fmla="*/ 481 h 481"/>
                <a:gd name="T56" fmla="*/ 50 w 496"/>
                <a:gd name="T57" fmla="*/ 481 h 481"/>
                <a:gd name="T58" fmla="*/ 50 w 496"/>
                <a:gd name="T59" fmla="*/ 146 h 481"/>
                <a:gd name="T60" fmla="*/ 50 w 496"/>
                <a:gd name="T61" fmla="*/ 127 h 481"/>
                <a:gd name="T62" fmla="*/ 48 w 496"/>
                <a:gd name="T63" fmla="*/ 111 h 481"/>
                <a:gd name="T64" fmla="*/ 48 w 496"/>
                <a:gd name="T65" fmla="*/ 103 h 481"/>
                <a:gd name="T66" fmla="*/ 45 w 496"/>
                <a:gd name="T67" fmla="*/ 96 h 481"/>
                <a:gd name="T68" fmla="*/ 43 w 496"/>
                <a:gd name="T69" fmla="*/ 91 h 481"/>
                <a:gd name="T70" fmla="*/ 39 w 496"/>
                <a:gd name="T71" fmla="*/ 87 h 481"/>
                <a:gd name="T72" fmla="*/ 34 w 496"/>
                <a:gd name="T73" fmla="*/ 84 h 481"/>
                <a:gd name="T74" fmla="*/ 28 w 496"/>
                <a:gd name="T75" fmla="*/ 80 h 481"/>
                <a:gd name="T76" fmla="*/ 16 w 496"/>
                <a:gd name="T77" fmla="*/ 80 h 481"/>
                <a:gd name="T78" fmla="*/ 0 w 496"/>
                <a:gd name="T79" fmla="*/ 80 h 481"/>
                <a:gd name="T80" fmla="*/ 0 w 496"/>
                <a:gd name="T81" fmla="*/ 7 h 481"/>
                <a:gd name="T82" fmla="*/ 51 w 496"/>
                <a:gd name="T83" fmla="*/ 0 h 481"/>
                <a:gd name="T84" fmla="*/ 77 w 496"/>
                <a:gd name="T85" fmla="*/ 0 h 481"/>
                <a:gd name="T86" fmla="*/ 99 w 496"/>
                <a:gd name="T87" fmla="*/ 5 h 481"/>
                <a:gd name="T88" fmla="*/ 118 w 496"/>
                <a:gd name="T89" fmla="*/ 14 h 481"/>
                <a:gd name="T90" fmla="*/ 133 w 496"/>
                <a:gd name="T91" fmla="*/ 29 h 481"/>
                <a:gd name="T92" fmla="*/ 142 w 496"/>
                <a:gd name="T93" fmla="*/ 43 h 481"/>
                <a:gd name="T94" fmla="*/ 145 w 496"/>
                <a:gd name="T95" fmla="*/ 60 h 481"/>
                <a:gd name="T96" fmla="*/ 147 w 496"/>
                <a:gd name="T97" fmla="*/ 80 h 481"/>
                <a:gd name="T98" fmla="*/ 159 w 496"/>
                <a:gd name="T99" fmla="*/ 60 h 481"/>
                <a:gd name="T100" fmla="*/ 174 w 496"/>
                <a:gd name="T101" fmla="*/ 43 h 481"/>
                <a:gd name="T102" fmla="*/ 193 w 496"/>
                <a:gd name="T103" fmla="*/ 29 h 481"/>
                <a:gd name="T104" fmla="*/ 214 w 496"/>
                <a:gd name="T105" fmla="*/ 17 h 481"/>
                <a:gd name="T106" fmla="*/ 238 w 496"/>
                <a:gd name="T107" fmla="*/ 9 h 481"/>
                <a:gd name="T108" fmla="*/ 260 w 496"/>
                <a:gd name="T109" fmla="*/ 3 h 481"/>
                <a:gd name="T110" fmla="*/ 308 w 496"/>
                <a:gd name="T11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6" h="481">
                  <a:moveTo>
                    <a:pt x="308" y="0"/>
                  </a:moveTo>
                  <a:lnTo>
                    <a:pt x="338" y="2"/>
                  </a:lnTo>
                  <a:lnTo>
                    <a:pt x="366" y="7"/>
                  </a:lnTo>
                  <a:lnTo>
                    <a:pt x="391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481"/>
                  </a:lnTo>
                  <a:lnTo>
                    <a:pt x="388" y="481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4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29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6" y="161"/>
                  </a:lnTo>
                  <a:lnTo>
                    <a:pt x="159" y="185"/>
                  </a:lnTo>
                  <a:lnTo>
                    <a:pt x="157" y="212"/>
                  </a:lnTo>
                  <a:lnTo>
                    <a:pt x="157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5" y="96"/>
                  </a:lnTo>
                  <a:lnTo>
                    <a:pt x="43" y="91"/>
                  </a:lnTo>
                  <a:lnTo>
                    <a:pt x="39" y="87"/>
                  </a:lnTo>
                  <a:lnTo>
                    <a:pt x="34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1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3" y="29"/>
                  </a:lnTo>
                  <a:lnTo>
                    <a:pt x="142" y="43"/>
                  </a:lnTo>
                  <a:lnTo>
                    <a:pt x="145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4" y="43"/>
                  </a:lnTo>
                  <a:lnTo>
                    <a:pt x="193" y="29"/>
                  </a:lnTo>
                  <a:lnTo>
                    <a:pt x="214" y="17"/>
                  </a:lnTo>
                  <a:lnTo>
                    <a:pt x="238" y="9"/>
                  </a:lnTo>
                  <a:lnTo>
                    <a:pt x="260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3676" y="1931"/>
              <a:ext cx="128" cy="128"/>
            </a:xfrm>
            <a:custGeom>
              <a:avLst/>
              <a:gdLst>
                <a:gd name="T0" fmla="*/ 63 w 128"/>
                <a:gd name="T1" fmla="*/ 0 h 128"/>
                <a:gd name="T2" fmla="*/ 87 w 128"/>
                <a:gd name="T3" fmla="*/ 5 h 128"/>
                <a:gd name="T4" fmla="*/ 108 w 128"/>
                <a:gd name="T5" fmla="*/ 17 h 128"/>
                <a:gd name="T6" fmla="*/ 120 w 128"/>
                <a:gd name="T7" fmla="*/ 29 h 128"/>
                <a:gd name="T8" fmla="*/ 125 w 128"/>
                <a:gd name="T9" fmla="*/ 45 h 128"/>
                <a:gd name="T10" fmla="*/ 128 w 128"/>
                <a:gd name="T11" fmla="*/ 63 h 128"/>
                <a:gd name="T12" fmla="*/ 125 w 128"/>
                <a:gd name="T13" fmla="*/ 82 h 128"/>
                <a:gd name="T14" fmla="*/ 120 w 128"/>
                <a:gd name="T15" fmla="*/ 99 h 128"/>
                <a:gd name="T16" fmla="*/ 108 w 128"/>
                <a:gd name="T17" fmla="*/ 111 h 128"/>
                <a:gd name="T18" fmla="*/ 87 w 128"/>
                <a:gd name="T19" fmla="*/ 123 h 128"/>
                <a:gd name="T20" fmla="*/ 65 w 128"/>
                <a:gd name="T21" fmla="*/ 128 h 128"/>
                <a:gd name="T22" fmla="*/ 41 w 128"/>
                <a:gd name="T23" fmla="*/ 125 h 128"/>
                <a:gd name="T24" fmla="*/ 21 w 128"/>
                <a:gd name="T25" fmla="*/ 113 h 128"/>
                <a:gd name="T26" fmla="*/ 9 w 128"/>
                <a:gd name="T27" fmla="*/ 99 h 128"/>
                <a:gd name="T28" fmla="*/ 2 w 128"/>
                <a:gd name="T29" fmla="*/ 84 h 128"/>
                <a:gd name="T30" fmla="*/ 0 w 128"/>
                <a:gd name="T31" fmla="*/ 63 h 128"/>
                <a:gd name="T32" fmla="*/ 2 w 128"/>
                <a:gd name="T33" fmla="*/ 45 h 128"/>
                <a:gd name="T34" fmla="*/ 9 w 128"/>
                <a:gd name="T35" fmla="*/ 29 h 128"/>
                <a:gd name="T36" fmla="*/ 19 w 128"/>
                <a:gd name="T37" fmla="*/ 17 h 128"/>
                <a:gd name="T38" fmla="*/ 41 w 128"/>
                <a:gd name="T39" fmla="*/ 5 h 128"/>
                <a:gd name="T40" fmla="*/ 63 w 128"/>
                <a:gd name="T4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128">
                  <a:moveTo>
                    <a:pt x="63" y="0"/>
                  </a:moveTo>
                  <a:lnTo>
                    <a:pt x="87" y="5"/>
                  </a:lnTo>
                  <a:lnTo>
                    <a:pt x="108" y="17"/>
                  </a:lnTo>
                  <a:lnTo>
                    <a:pt x="120" y="29"/>
                  </a:lnTo>
                  <a:lnTo>
                    <a:pt x="125" y="45"/>
                  </a:lnTo>
                  <a:lnTo>
                    <a:pt x="128" y="63"/>
                  </a:lnTo>
                  <a:lnTo>
                    <a:pt x="125" y="82"/>
                  </a:lnTo>
                  <a:lnTo>
                    <a:pt x="120" y="99"/>
                  </a:lnTo>
                  <a:lnTo>
                    <a:pt x="108" y="111"/>
                  </a:lnTo>
                  <a:lnTo>
                    <a:pt x="87" y="123"/>
                  </a:lnTo>
                  <a:lnTo>
                    <a:pt x="65" y="128"/>
                  </a:lnTo>
                  <a:lnTo>
                    <a:pt x="41" y="125"/>
                  </a:lnTo>
                  <a:lnTo>
                    <a:pt x="21" y="113"/>
                  </a:lnTo>
                  <a:lnTo>
                    <a:pt x="9" y="99"/>
                  </a:lnTo>
                  <a:lnTo>
                    <a:pt x="2" y="84"/>
                  </a:lnTo>
                  <a:lnTo>
                    <a:pt x="0" y="63"/>
                  </a:lnTo>
                  <a:lnTo>
                    <a:pt x="2" y="45"/>
                  </a:lnTo>
                  <a:lnTo>
                    <a:pt x="9" y="29"/>
                  </a:lnTo>
                  <a:lnTo>
                    <a:pt x="19" y="17"/>
                  </a:lnTo>
                  <a:lnTo>
                    <a:pt x="41" y="5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6"/>
            <p:cNvSpPr>
              <a:spLocks noChangeArrowheads="1"/>
            </p:cNvSpPr>
            <p:nvPr userDrawn="1"/>
          </p:nvSpPr>
          <p:spPr bwMode="auto">
            <a:xfrm>
              <a:off x="3686" y="2142"/>
              <a:ext cx="106" cy="4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3869" y="2133"/>
              <a:ext cx="499" cy="490"/>
            </a:xfrm>
            <a:custGeom>
              <a:avLst/>
              <a:gdLst>
                <a:gd name="T0" fmla="*/ 219 w 499"/>
                <a:gd name="T1" fmla="*/ 96 h 490"/>
                <a:gd name="T2" fmla="*/ 171 w 499"/>
                <a:gd name="T3" fmla="*/ 115 h 490"/>
                <a:gd name="T4" fmla="*/ 132 w 499"/>
                <a:gd name="T5" fmla="*/ 152 h 490"/>
                <a:gd name="T6" fmla="*/ 110 w 499"/>
                <a:gd name="T7" fmla="*/ 207 h 490"/>
                <a:gd name="T8" fmla="*/ 110 w 499"/>
                <a:gd name="T9" fmla="*/ 279 h 490"/>
                <a:gd name="T10" fmla="*/ 134 w 499"/>
                <a:gd name="T11" fmla="*/ 337 h 490"/>
                <a:gd name="T12" fmla="*/ 173 w 499"/>
                <a:gd name="T13" fmla="*/ 375 h 490"/>
                <a:gd name="T14" fmla="*/ 224 w 499"/>
                <a:gd name="T15" fmla="*/ 394 h 490"/>
                <a:gd name="T16" fmla="*/ 277 w 499"/>
                <a:gd name="T17" fmla="*/ 394 h 490"/>
                <a:gd name="T18" fmla="*/ 327 w 499"/>
                <a:gd name="T19" fmla="*/ 373 h 490"/>
                <a:gd name="T20" fmla="*/ 366 w 499"/>
                <a:gd name="T21" fmla="*/ 336 h 490"/>
                <a:gd name="T22" fmla="*/ 390 w 499"/>
                <a:gd name="T23" fmla="*/ 279 h 490"/>
                <a:gd name="T24" fmla="*/ 390 w 499"/>
                <a:gd name="T25" fmla="*/ 207 h 490"/>
                <a:gd name="T26" fmla="*/ 364 w 499"/>
                <a:gd name="T27" fmla="*/ 151 h 490"/>
                <a:gd name="T28" fmla="*/ 325 w 499"/>
                <a:gd name="T29" fmla="*/ 113 h 490"/>
                <a:gd name="T30" fmla="*/ 272 w 499"/>
                <a:gd name="T31" fmla="*/ 94 h 490"/>
                <a:gd name="T32" fmla="*/ 245 w 499"/>
                <a:gd name="T33" fmla="*/ 0 h 490"/>
                <a:gd name="T34" fmla="*/ 340 w 499"/>
                <a:gd name="T35" fmla="*/ 14 h 490"/>
                <a:gd name="T36" fmla="*/ 422 w 499"/>
                <a:gd name="T37" fmla="*/ 58 h 490"/>
                <a:gd name="T38" fmla="*/ 463 w 499"/>
                <a:gd name="T39" fmla="*/ 106 h 490"/>
                <a:gd name="T40" fmla="*/ 491 w 499"/>
                <a:gd name="T41" fmla="*/ 168 h 490"/>
                <a:gd name="T42" fmla="*/ 499 w 499"/>
                <a:gd name="T43" fmla="*/ 243 h 490"/>
                <a:gd name="T44" fmla="*/ 489 w 499"/>
                <a:gd name="T45" fmla="*/ 318 h 490"/>
                <a:gd name="T46" fmla="*/ 462 w 499"/>
                <a:gd name="T47" fmla="*/ 380 h 490"/>
                <a:gd name="T48" fmla="*/ 421 w 499"/>
                <a:gd name="T49" fmla="*/ 430 h 490"/>
                <a:gd name="T50" fmla="*/ 340 w 499"/>
                <a:gd name="T51" fmla="*/ 474 h 490"/>
                <a:gd name="T52" fmla="*/ 250 w 499"/>
                <a:gd name="T53" fmla="*/ 490 h 490"/>
                <a:gd name="T54" fmla="*/ 157 w 499"/>
                <a:gd name="T55" fmla="*/ 474 h 490"/>
                <a:gd name="T56" fmla="*/ 79 w 499"/>
                <a:gd name="T57" fmla="*/ 430 h 490"/>
                <a:gd name="T58" fmla="*/ 38 w 499"/>
                <a:gd name="T59" fmla="*/ 380 h 490"/>
                <a:gd name="T60" fmla="*/ 11 w 499"/>
                <a:gd name="T61" fmla="*/ 318 h 490"/>
                <a:gd name="T62" fmla="*/ 0 w 499"/>
                <a:gd name="T63" fmla="*/ 243 h 490"/>
                <a:gd name="T64" fmla="*/ 11 w 499"/>
                <a:gd name="T65" fmla="*/ 168 h 490"/>
                <a:gd name="T66" fmla="*/ 36 w 499"/>
                <a:gd name="T67" fmla="*/ 108 h 490"/>
                <a:gd name="T68" fmla="*/ 77 w 499"/>
                <a:gd name="T69" fmla="*/ 60 h 490"/>
                <a:gd name="T70" fmla="*/ 156 w 499"/>
                <a:gd name="T71" fmla="*/ 14 h 490"/>
                <a:gd name="T72" fmla="*/ 245 w 499"/>
                <a:gd name="T7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490">
                  <a:moveTo>
                    <a:pt x="245" y="94"/>
                  </a:moveTo>
                  <a:lnTo>
                    <a:pt x="219" y="96"/>
                  </a:lnTo>
                  <a:lnTo>
                    <a:pt x="193" y="104"/>
                  </a:lnTo>
                  <a:lnTo>
                    <a:pt x="171" y="115"/>
                  </a:lnTo>
                  <a:lnTo>
                    <a:pt x="149" y="132"/>
                  </a:lnTo>
                  <a:lnTo>
                    <a:pt x="132" y="152"/>
                  </a:lnTo>
                  <a:lnTo>
                    <a:pt x="118" y="178"/>
                  </a:lnTo>
                  <a:lnTo>
                    <a:pt x="110" y="207"/>
                  </a:lnTo>
                  <a:lnTo>
                    <a:pt x="106" y="243"/>
                  </a:lnTo>
                  <a:lnTo>
                    <a:pt x="110" y="279"/>
                  </a:lnTo>
                  <a:lnTo>
                    <a:pt x="118" y="310"/>
                  </a:lnTo>
                  <a:lnTo>
                    <a:pt x="134" y="337"/>
                  </a:lnTo>
                  <a:lnTo>
                    <a:pt x="151" y="358"/>
                  </a:lnTo>
                  <a:lnTo>
                    <a:pt x="173" y="375"/>
                  </a:lnTo>
                  <a:lnTo>
                    <a:pt x="198" y="387"/>
                  </a:lnTo>
                  <a:lnTo>
                    <a:pt x="224" y="394"/>
                  </a:lnTo>
                  <a:lnTo>
                    <a:pt x="251" y="395"/>
                  </a:lnTo>
                  <a:lnTo>
                    <a:pt x="277" y="394"/>
                  </a:lnTo>
                  <a:lnTo>
                    <a:pt x="303" y="387"/>
                  </a:lnTo>
                  <a:lnTo>
                    <a:pt x="327" y="373"/>
                  </a:lnTo>
                  <a:lnTo>
                    <a:pt x="349" y="358"/>
                  </a:lnTo>
                  <a:lnTo>
                    <a:pt x="366" y="336"/>
                  </a:lnTo>
                  <a:lnTo>
                    <a:pt x="380" y="310"/>
                  </a:lnTo>
                  <a:lnTo>
                    <a:pt x="390" y="279"/>
                  </a:lnTo>
                  <a:lnTo>
                    <a:pt x="393" y="243"/>
                  </a:lnTo>
                  <a:lnTo>
                    <a:pt x="390" y="207"/>
                  </a:lnTo>
                  <a:lnTo>
                    <a:pt x="380" y="176"/>
                  </a:lnTo>
                  <a:lnTo>
                    <a:pt x="364" y="151"/>
                  </a:lnTo>
                  <a:lnTo>
                    <a:pt x="347" y="128"/>
                  </a:lnTo>
                  <a:lnTo>
                    <a:pt x="325" y="113"/>
                  </a:lnTo>
                  <a:lnTo>
                    <a:pt x="299" y="101"/>
                  </a:lnTo>
                  <a:lnTo>
                    <a:pt x="272" y="94"/>
                  </a:lnTo>
                  <a:lnTo>
                    <a:pt x="245" y="94"/>
                  </a:lnTo>
                  <a:close/>
                  <a:moveTo>
                    <a:pt x="245" y="0"/>
                  </a:moveTo>
                  <a:lnTo>
                    <a:pt x="294" y="3"/>
                  </a:lnTo>
                  <a:lnTo>
                    <a:pt x="340" y="14"/>
                  </a:lnTo>
                  <a:lnTo>
                    <a:pt x="385" y="33"/>
                  </a:lnTo>
                  <a:lnTo>
                    <a:pt x="422" y="58"/>
                  </a:lnTo>
                  <a:lnTo>
                    <a:pt x="445" y="80"/>
                  </a:lnTo>
                  <a:lnTo>
                    <a:pt x="463" y="106"/>
                  </a:lnTo>
                  <a:lnTo>
                    <a:pt x="479" y="135"/>
                  </a:lnTo>
                  <a:lnTo>
                    <a:pt x="491" y="168"/>
                  </a:lnTo>
                  <a:lnTo>
                    <a:pt x="497" y="204"/>
                  </a:lnTo>
                  <a:lnTo>
                    <a:pt x="499" y="243"/>
                  </a:lnTo>
                  <a:lnTo>
                    <a:pt x="497" y="282"/>
                  </a:lnTo>
                  <a:lnTo>
                    <a:pt x="489" y="318"/>
                  </a:lnTo>
                  <a:lnTo>
                    <a:pt x="477" y="351"/>
                  </a:lnTo>
                  <a:lnTo>
                    <a:pt x="462" y="380"/>
                  </a:lnTo>
                  <a:lnTo>
                    <a:pt x="443" y="406"/>
                  </a:lnTo>
                  <a:lnTo>
                    <a:pt x="421" y="430"/>
                  </a:lnTo>
                  <a:lnTo>
                    <a:pt x="383" y="455"/>
                  </a:lnTo>
                  <a:lnTo>
                    <a:pt x="340" y="474"/>
                  </a:lnTo>
                  <a:lnTo>
                    <a:pt x="296" y="486"/>
                  </a:lnTo>
                  <a:lnTo>
                    <a:pt x="250" y="490"/>
                  </a:lnTo>
                  <a:lnTo>
                    <a:pt x="204" y="486"/>
                  </a:lnTo>
                  <a:lnTo>
                    <a:pt x="157" y="474"/>
                  </a:lnTo>
                  <a:lnTo>
                    <a:pt x="115" y="455"/>
                  </a:lnTo>
                  <a:lnTo>
                    <a:pt x="79" y="430"/>
                  </a:lnTo>
                  <a:lnTo>
                    <a:pt x="57" y="406"/>
                  </a:lnTo>
                  <a:lnTo>
                    <a:pt x="38" y="380"/>
                  </a:lnTo>
                  <a:lnTo>
                    <a:pt x="23" y="351"/>
                  </a:lnTo>
                  <a:lnTo>
                    <a:pt x="11" y="318"/>
                  </a:lnTo>
                  <a:lnTo>
                    <a:pt x="2" y="282"/>
                  </a:lnTo>
                  <a:lnTo>
                    <a:pt x="0" y="243"/>
                  </a:lnTo>
                  <a:lnTo>
                    <a:pt x="2" y="204"/>
                  </a:lnTo>
                  <a:lnTo>
                    <a:pt x="11" y="168"/>
                  </a:lnTo>
                  <a:lnTo>
                    <a:pt x="21" y="137"/>
                  </a:lnTo>
                  <a:lnTo>
                    <a:pt x="36" y="108"/>
                  </a:lnTo>
                  <a:lnTo>
                    <a:pt x="55" y="82"/>
                  </a:lnTo>
                  <a:lnTo>
                    <a:pt x="77" y="60"/>
                  </a:lnTo>
                  <a:lnTo>
                    <a:pt x="113" y="34"/>
                  </a:lnTo>
                  <a:lnTo>
                    <a:pt x="156" y="14"/>
                  </a:lnTo>
                  <a:lnTo>
                    <a:pt x="200" y="3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44" y="1928"/>
              <a:ext cx="509" cy="686"/>
            </a:xfrm>
            <a:custGeom>
              <a:avLst/>
              <a:gdLst>
                <a:gd name="T0" fmla="*/ 0 w 509"/>
                <a:gd name="T1" fmla="*/ 0 h 686"/>
                <a:gd name="T2" fmla="*/ 509 w 509"/>
                <a:gd name="T3" fmla="*/ 0 h 686"/>
                <a:gd name="T4" fmla="*/ 509 w 509"/>
                <a:gd name="T5" fmla="*/ 101 h 686"/>
                <a:gd name="T6" fmla="*/ 311 w 509"/>
                <a:gd name="T7" fmla="*/ 101 h 686"/>
                <a:gd name="T8" fmla="*/ 311 w 509"/>
                <a:gd name="T9" fmla="*/ 686 h 686"/>
                <a:gd name="T10" fmla="*/ 198 w 509"/>
                <a:gd name="T11" fmla="*/ 686 h 686"/>
                <a:gd name="T12" fmla="*/ 198 w 509"/>
                <a:gd name="T13" fmla="*/ 101 h 686"/>
                <a:gd name="T14" fmla="*/ 0 w 509"/>
                <a:gd name="T15" fmla="*/ 101 h 686"/>
                <a:gd name="T16" fmla="*/ 0 w 509"/>
                <a:gd name="T17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9" h="686">
                  <a:moveTo>
                    <a:pt x="0" y="0"/>
                  </a:moveTo>
                  <a:lnTo>
                    <a:pt x="509" y="0"/>
                  </a:lnTo>
                  <a:lnTo>
                    <a:pt x="509" y="101"/>
                  </a:lnTo>
                  <a:lnTo>
                    <a:pt x="311" y="101"/>
                  </a:lnTo>
                  <a:lnTo>
                    <a:pt x="311" y="686"/>
                  </a:lnTo>
                  <a:lnTo>
                    <a:pt x="198" y="686"/>
                  </a:lnTo>
                  <a:lnTo>
                    <a:pt x="198" y="101"/>
                  </a:lnTo>
                  <a:lnTo>
                    <a:pt x="0" y="1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2497" y="1928"/>
              <a:ext cx="535" cy="695"/>
            </a:xfrm>
            <a:custGeom>
              <a:avLst/>
              <a:gdLst>
                <a:gd name="T0" fmla="*/ 0 w 535"/>
                <a:gd name="T1" fmla="*/ 0 h 695"/>
                <a:gd name="T2" fmla="*/ 115 w 535"/>
                <a:gd name="T3" fmla="*/ 0 h 695"/>
                <a:gd name="T4" fmla="*/ 115 w 535"/>
                <a:gd name="T5" fmla="*/ 453 h 695"/>
                <a:gd name="T6" fmla="*/ 118 w 535"/>
                <a:gd name="T7" fmla="*/ 489 h 695"/>
                <a:gd name="T8" fmla="*/ 130 w 535"/>
                <a:gd name="T9" fmla="*/ 520 h 695"/>
                <a:gd name="T10" fmla="*/ 147 w 535"/>
                <a:gd name="T11" fmla="*/ 546 h 695"/>
                <a:gd name="T12" fmla="*/ 171 w 535"/>
                <a:gd name="T13" fmla="*/ 566 h 695"/>
                <a:gd name="T14" fmla="*/ 200 w 535"/>
                <a:gd name="T15" fmla="*/ 582 h 695"/>
                <a:gd name="T16" fmla="*/ 233 w 535"/>
                <a:gd name="T17" fmla="*/ 590 h 695"/>
                <a:gd name="T18" fmla="*/ 269 w 535"/>
                <a:gd name="T19" fmla="*/ 594 h 695"/>
                <a:gd name="T20" fmla="*/ 304 w 535"/>
                <a:gd name="T21" fmla="*/ 590 h 695"/>
                <a:gd name="T22" fmla="*/ 337 w 535"/>
                <a:gd name="T23" fmla="*/ 582 h 695"/>
                <a:gd name="T24" fmla="*/ 364 w 535"/>
                <a:gd name="T25" fmla="*/ 566 h 695"/>
                <a:gd name="T26" fmla="*/ 388 w 535"/>
                <a:gd name="T27" fmla="*/ 546 h 695"/>
                <a:gd name="T28" fmla="*/ 407 w 535"/>
                <a:gd name="T29" fmla="*/ 520 h 695"/>
                <a:gd name="T30" fmla="*/ 417 w 535"/>
                <a:gd name="T31" fmla="*/ 489 h 695"/>
                <a:gd name="T32" fmla="*/ 422 w 535"/>
                <a:gd name="T33" fmla="*/ 453 h 695"/>
                <a:gd name="T34" fmla="*/ 422 w 535"/>
                <a:gd name="T35" fmla="*/ 0 h 695"/>
                <a:gd name="T36" fmla="*/ 535 w 535"/>
                <a:gd name="T37" fmla="*/ 0 h 695"/>
                <a:gd name="T38" fmla="*/ 535 w 535"/>
                <a:gd name="T39" fmla="*/ 455 h 695"/>
                <a:gd name="T40" fmla="*/ 532 w 535"/>
                <a:gd name="T41" fmla="*/ 499 h 695"/>
                <a:gd name="T42" fmla="*/ 521 w 535"/>
                <a:gd name="T43" fmla="*/ 539 h 695"/>
                <a:gd name="T44" fmla="*/ 504 w 535"/>
                <a:gd name="T45" fmla="*/ 575 h 695"/>
                <a:gd name="T46" fmla="*/ 482 w 535"/>
                <a:gd name="T47" fmla="*/ 606 h 695"/>
                <a:gd name="T48" fmla="*/ 457 w 535"/>
                <a:gd name="T49" fmla="*/ 633 h 695"/>
                <a:gd name="T50" fmla="*/ 426 w 535"/>
                <a:gd name="T51" fmla="*/ 655 h 695"/>
                <a:gd name="T52" fmla="*/ 390 w 535"/>
                <a:gd name="T53" fmla="*/ 672 h 695"/>
                <a:gd name="T54" fmla="*/ 352 w 535"/>
                <a:gd name="T55" fmla="*/ 684 h 695"/>
                <a:gd name="T56" fmla="*/ 311 w 535"/>
                <a:gd name="T57" fmla="*/ 693 h 695"/>
                <a:gd name="T58" fmla="*/ 269 w 535"/>
                <a:gd name="T59" fmla="*/ 695 h 695"/>
                <a:gd name="T60" fmla="*/ 226 w 535"/>
                <a:gd name="T61" fmla="*/ 693 h 695"/>
                <a:gd name="T62" fmla="*/ 185 w 535"/>
                <a:gd name="T63" fmla="*/ 684 h 695"/>
                <a:gd name="T64" fmla="*/ 146 w 535"/>
                <a:gd name="T65" fmla="*/ 672 h 695"/>
                <a:gd name="T66" fmla="*/ 110 w 535"/>
                <a:gd name="T67" fmla="*/ 655 h 695"/>
                <a:gd name="T68" fmla="*/ 79 w 535"/>
                <a:gd name="T69" fmla="*/ 633 h 695"/>
                <a:gd name="T70" fmla="*/ 52 w 535"/>
                <a:gd name="T71" fmla="*/ 606 h 695"/>
                <a:gd name="T72" fmla="*/ 31 w 535"/>
                <a:gd name="T73" fmla="*/ 575 h 695"/>
                <a:gd name="T74" fmla="*/ 14 w 535"/>
                <a:gd name="T75" fmla="*/ 539 h 695"/>
                <a:gd name="T76" fmla="*/ 4 w 535"/>
                <a:gd name="T77" fmla="*/ 499 h 695"/>
                <a:gd name="T78" fmla="*/ 0 w 535"/>
                <a:gd name="T79" fmla="*/ 455 h 695"/>
                <a:gd name="T80" fmla="*/ 0 w 535"/>
                <a:gd name="T81" fmla="*/ 0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695">
                  <a:moveTo>
                    <a:pt x="0" y="0"/>
                  </a:moveTo>
                  <a:lnTo>
                    <a:pt x="115" y="0"/>
                  </a:lnTo>
                  <a:lnTo>
                    <a:pt x="115" y="453"/>
                  </a:lnTo>
                  <a:lnTo>
                    <a:pt x="118" y="489"/>
                  </a:lnTo>
                  <a:lnTo>
                    <a:pt x="130" y="520"/>
                  </a:lnTo>
                  <a:lnTo>
                    <a:pt x="147" y="546"/>
                  </a:lnTo>
                  <a:lnTo>
                    <a:pt x="171" y="566"/>
                  </a:lnTo>
                  <a:lnTo>
                    <a:pt x="200" y="582"/>
                  </a:lnTo>
                  <a:lnTo>
                    <a:pt x="233" y="590"/>
                  </a:lnTo>
                  <a:lnTo>
                    <a:pt x="269" y="594"/>
                  </a:lnTo>
                  <a:lnTo>
                    <a:pt x="304" y="590"/>
                  </a:lnTo>
                  <a:lnTo>
                    <a:pt x="337" y="582"/>
                  </a:lnTo>
                  <a:lnTo>
                    <a:pt x="364" y="566"/>
                  </a:lnTo>
                  <a:lnTo>
                    <a:pt x="388" y="546"/>
                  </a:lnTo>
                  <a:lnTo>
                    <a:pt x="407" y="520"/>
                  </a:lnTo>
                  <a:lnTo>
                    <a:pt x="417" y="489"/>
                  </a:lnTo>
                  <a:lnTo>
                    <a:pt x="422" y="453"/>
                  </a:lnTo>
                  <a:lnTo>
                    <a:pt x="422" y="0"/>
                  </a:lnTo>
                  <a:lnTo>
                    <a:pt x="535" y="0"/>
                  </a:lnTo>
                  <a:lnTo>
                    <a:pt x="535" y="455"/>
                  </a:lnTo>
                  <a:lnTo>
                    <a:pt x="532" y="499"/>
                  </a:lnTo>
                  <a:lnTo>
                    <a:pt x="521" y="539"/>
                  </a:lnTo>
                  <a:lnTo>
                    <a:pt x="504" y="575"/>
                  </a:lnTo>
                  <a:lnTo>
                    <a:pt x="482" y="606"/>
                  </a:lnTo>
                  <a:lnTo>
                    <a:pt x="457" y="633"/>
                  </a:lnTo>
                  <a:lnTo>
                    <a:pt x="426" y="655"/>
                  </a:lnTo>
                  <a:lnTo>
                    <a:pt x="390" y="672"/>
                  </a:lnTo>
                  <a:lnTo>
                    <a:pt x="352" y="684"/>
                  </a:lnTo>
                  <a:lnTo>
                    <a:pt x="311" y="693"/>
                  </a:lnTo>
                  <a:lnTo>
                    <a:pt x="269" y="695"/>
                  </a:lnTo>
                  <a:lnTo>
                    <a:pt x="226" y="693"/>
                  </a:lnTo>
                  <a:lnTo>
                    <a:pt x="185" y="684"/>
                  </a:lnTo>
                  <a:lnTo>
                    <a:pt x="146" y="672"/>
                  </a:lnTo>
                  <a:lnTo>
                    <a:pt x="110" y="655"/>
                  </a:lnTo>
                  <a:lnTo>
                    <a:pt x="79" y="633"/>
                  </a:lnTo>
                  <a:lnTo>
                    <a:pt x="52" y="606"/>
                  </a:lnTo>
                  <a:lnTo>
                    <a:pt x="31" y="575"/>
                  </a:lnTo>
                  <a:lnTo>
                    <a:pt x="14" y="539"/>
                  </a:lnTo>
                  <a:lnTo>
                    <a:pt x="4" y="499"/>
                  </a:lnTo>
                  <a:lnTo>
                    <a:pt x="0" y="45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4402" y="2133"/>
              <a:ext cx="552" cy="490"/>
            </a:xfrm>
            <a:custGeom>
              <a:avLst/>
              <a:gdLst>
                <a:gd name="T0" fmla="*/ 339 w 552"/>
                <a:gd name="T1" fmla="*/ 2 h 490"/>
                <a:gd name="T2" fmla="*/ 392 w 552"/>
                <a:gd name="T3" fmla="*/ 15 h 490"/>
                <a:gd name="T4" fmla="*/ 450 w 552"/>
                <a:gd name="T5" fmla="*/ 58 h 490"/>
                <a:gd name="T6" fmla="*/ 484 w 552"/>
                <a:gd name="T7" fmla="*/ 122 h 490"/>
                <a:gd name="T8" fmla="*/ 496 w 552"/>
                <a:gd name="T9" fmla="*/ 204 h 490"/>
                <a:gd name="T10" fmla="*/ 496 w 552"/>
                <a:gd name="T11" fmla="*/ 296 h 490"/>
                <a:gd name="T12" fmla="*/ 498 w 552"/>
                <a:gd name="T13" fmla="*/ 389 h 490"/>
                <a:gd name="T14" fmla="*/ 511 w 552"/>
                <a:gd name="T15" fmla="*/ 411 h 490"/>
                <a:gd name="T16" fmla="*/ 552 w 552"/>
                <a:gd name="T17" fmla="*/ 414 h 490"/>
                <a:gd name="T18" fmla="*/ 521 w 552"/>
                <a:gd name="T19" fmla="*/ 488 h 490"/>
                <a:gd name="T20" fmla="*/ 468 w 552"/>
                <a:gd name="T21" fmla="*/ 490 h 490"/>
                <a:gd name="T22" fmla="*/ 426 w 552"/>
                <a:gd name="T23" fmla="*/ 472 h 490"/>
                <a:gd name="T24" fmla="*/ 398 w 552"/>
                <a:gd name="T25" fmla="*/ 437 h 490"/>
                <a:gd name="T26" fmla="*/ 388 w 552"/>
                <a:gd name="T27" fmla="*/ 375 h 490"/>
                <a:gd name="T28" fmla="*/ 385 w 552"/>
                <a:gd name="T29" fmla="*/ 170 h 490"/>
                <a:gd name="T30" fmla="*/ 357 w 552"/>
                <a:gd name="T31" fmla="*/ 116 h 490"/>
                <a:gd name="T32" fmla="*/ 308 w 552"/>
                <a:gd name="T33" fmla="*/ 89 h 490"/>
                <a:gd name="T34" fmla="*/ 253 w 552"/>
                <a:gd name="T35" fmla="*/ 87 h 490"/>
                <a:gd name="T36" fmla="*/ 210 w 552"/>
                <a:gd name="T37" fmla="*/ 104 h 490"/>
                <a:gd name="T38" fmla="*/ 178 w 552"/>
                <a:gd name="T39" fmla="*/ 139 h 490"/>
                <a:gd name="T40" fmla="*/ 159 w 552"/>
                <a:gd name="T41" fmla="*/ 185 h 490"/>
                <a:gd name="T42" fmla="*/ 158 w 552"/>
                <a:gd name="T43" fmla="*/ 481 h 490"/>
                <a:gd name="T44" fmla="*/ 50 w 552"/>
                <a:gd name="T45" fmla="*/ 146 h 490"/>
                <a:gd name="T46" fmla="*/ 48 w 552"/>
                <a:gd name="T47" fmla="*/ 111 h 490"/>
                <a:gd name="T48" fmla="*/ 46 w 552"/>
                <a:gd name="T49" fmla="*/ 96 h 490"/>
                <a:gd name="T50" fmla="*/ 40 w 552"/>
                <a:gd name="T51" fmla="*/ 87 h 490"/>
                <a:gd name="T52" fmla="*/ 28 w 552"/>
                <a:gd name="T53" fmla="*/ 80 h 490"/>
                <a:gd name="T54" fmla="*/ 0 w 552"/>
                <a:gd name="T55" fmla="*/ 80 h 490"/>
                <a:gd name="T56" fmla="*/ 52 w 552"/>
                <a:gd name="T57" fmla="*/ 0 h 490"/>
                <a:gd name="T58" fmla="*/ 99 w 552"/>
                <a:gd name="T59" fmla="*/ 5 h 490"/>
                <a:gd name="T60" fmla="*/ 134 w 552"/>
                <a:gd name="T61" fmla="*/ 29 h 490"/>
                <a:gd name="T62" fmla="*/ 146 w 552"/>
                <a:gd name="T63" fmla="*/ 60 h 490"/>
                <a:gd name="T64" fmla="*/ 159 w 552"/>
                <a:gd name="T65" fmla="*/ 60 h 490"/>
                <a:gd name="T66" fmla="*/ 193 w 552"/>
                <a:gd name="T67" fmla="*/ 29 h 490"/>
                <a:gd name="T68" fmla="*/ 238 w 552"/>
                <a:gd name="T69" fmla="*/ 9 h 490"/>
                <a:gd name="T70" fmla="*/ 308 w 552"/>
                <a:gd name="T71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2" h="490">
                  <a:moveTo>
                    <a:pt x="308" y="0"/>
                  </a:moveTo>
                  <a:lnTo>
                    <a:pt x="339" y="2"/>
                  </a:lnTo>
                  <a:lnTo>
                    <a:pt x="368" y="7"/>
                  </a:lnTo>
                  <a:lnTo>
                    <a:pt x="392" y="15"/>
                  </a:lnTo>
                  <a:lnTo>
                    <a:pt x="424" y="34"/>
                  </a:lnTo>
                  <a:lnTo>
                    <a:pt x="450" y="58"/>
                  </a:lnTo>
                  <a:lnTo>
                    <a:pt x="470" y="87"/>
                  </a:lnTo>
                  <a:lnTo>
                    <a:pt x="484" y="122"/>
                  </a:lnTo>
                  <a:lnTo>
                    <a:pt x="492" y="161"/>
                  </a:lnTo>
                  <a:lnTo>
                    <a:pt x="496" y="204"/>
                  </a:lnTo>
                  <a:lnTo>
                    <a:pt x="496" y="296"/>
                  </a:lnTo>
                  <a:lnTo>
                    <a:pt x="496" y="296"/>
                  </a:lnTo>
                  <a:lnTo>
                    <a:pt x="496" y="370"/>
                  </a:lnTo>
                  <a:lnTo>
                    <a:pt x="498" y="389"/>
                  </a:lnTo>
                  <a:lnTo>
                    <a:pt x="503" y="402"/>
                  </a:lnTo>
                  <a:lnTo>
                    <a:pt x="511" y="411"/>
                  </a:lnTo>
                  <a:lnTo>
                    <a:pt x="528" y="416"/>
                  </a:lnTo>
                  <a:lnTo>
                    <a:pt x="552" y="414"/>
                  </a:lnTo>
                  <a:lnTo>
                    <a:pt x="552" y="483"/>
                  </a:lnTo>
                  <a:lnTo>
                    <a:pt x="521" y="488"/>
                  </a:lnTo>
                  <a:lnTo>
                    <a:pt x="494" y="490"/>
                  </a:lnTo>
                  <a:lnTo>
                    <a:pt x="468" y="490"/>
                  </a:lnTo>
                  <a:lnTo>
                    <a:pt x="446" y="483"/>
                  </a:lnTo>
                  <a:lnTo>
                    <a:pt x="426" y="472"/>
                  </a:lnTo>
                  <a:lnTo>
                    <a:pt x="410" y="457"/>
                  </a:lnTo>
                  <a:lnTo>
                    <a:pt x="398" y="437"/>
                  </a:lnTo>
                  <a:lnTo>
                    <a:pt x="390" y="409"/>
                  </a:lnTo>
                  <a:lnTo>
                    <a:pt x="388" y="375"/>
                  </a:lnTo>
                  <a:lnTo>
                    <a:pt x="388" y="204"/>
                  </a:lnTo>
                  <a:lnTo>
                    <a:pt x="385" y="170"/>
                  </a:lnTo>
                  <a:lnTo>
                    <a:pt x="375" y="140"/>
                  </a:lnTo>
                  <a:lnTo>
                    <a:pt x="357" y="116"/>
                  </a:lnTo>
                  <a:lnTo>
                    <a:pt x="333" y="99"/>
                  </a:lnTo>
                  <a:lnTo>
                    <a:pt x="308" y="89"/>
                  </a:lnTo>
                  <a:lnTo>
                    <a:pt x="277" y="84"/>
                  </a:lnTo>
                  <a:lnTo>
                    <a:pt x="253" y="87"/>
                  </a:lnTo>
                  <a:lnTo>
                    <a:pt x="231" y="94"/>
                  </a:lnTo>
                  <a:lnTo>
                    <a:pt x="210" y="104"/>
                  </a:lnTo>
                  <a:lnTo>
                    <a:pt x="192" y="120"/>
                  </a:lnTo>
                  <a:lnTo>
                    <a:pt x="178" y="139"/>
                  </a:lnTo>
                  <a:lnTo>
                    <a:pt x="168" y="161"/>
                  </a:lnTo>
                  <a:lnTo>
                    <a:pt x="159" y="185"/>
                  </a:lnTo>
                  <a:lnTo>
                    <a:pt x="158" y="212"/>
                  </a:lnTo>
                  <a:lnTo>
                    <a:pt x="158" y="481"/>
                  </a:lnTo>
                  <a:lnTo>
                    <a:pt x="50" y="481"/>
                  </a:lnTo>
                  <a:lnTo>
                    <a:pt x="50" y="146"/>
                  </a:lnTo>
                  <a:lnTo>
                    <a:pt x="50" y="127"/>
                  </a:lnTo>
                  <a:lnTo>
                    <a:pt x="48" y="111"/>
                  </a:lnTo>
                  <a:lnTo>
                    <a:pt x="48" y="103"/>
                  </a:lnTo>
                  <a:lnTo>
                    <a:pt x="46" y="96"/>
                  </a:lnTo>
                  <a:lnTo>
                    <a:pt x="43" y="91"/>
                  </a:lnTo>
                  <a:lnTo>
                    <a:pt x="40" y="87"/>
                  </a:lnTo>
                  <a:lnTo>
                    <a:pt x="35" y="84"/>
                  </a:lnTo>
                  <a:lnTo>
                    <a:pt x="28" y="80"/>
                  </a:lnTo>
                  <a:lnTo>
                    <a:pt x="16" y="80"/>
                  </a:lnTo>
                  <a:lnTo>
                    <a:pt x="0" y="80"/>
                  </a:lnTo>
                  <a:lnTo>
                    <a:pt x="0" y="7"/>
                  </a:lnTo>
                  <a:lnTo>
                    <a:pt x="52" y="0"/>
                  </a:lnTo>
                  <a:lnTo>
                    <a:pt x="77" y="0"/>
                  </a:lnTo>
                  <a:lnTo>
                    <a:pt x="99" y="5"/>
                  </a:lnTo>
                  <a:lnTo>
                    <a:pt x="118" y="14"/>
                  </a:lnTo>
                  <a:lnTo>
                    <a:pt x="134" y="29"/>
                  </a:lnTo>
                  <a:lnTo>
                    <a:pt x="142" y="43"/>
                  </a:lnTo>
                  <a:lnTo>
                    <a:pt x="146" y="60"/>
                  </a:lnTo>
                  <a:lnTo>
                    <a:pt x="147" y="80"/>
                  </a:lnTo>
                  <a:lnTo>
                    <a:pt x="159" y="60"/>
                  </a:lnTo>
                  <a:lnTo>
                    <a:pt x="175" y="43"/>
                  </a:lnTo>
                  <a:lnTo>
                    <a:pt x="193" y="29"/>
                  </a:lnTo>
                  <a:lnTo>
                    <a:pt x="216" y="17"/>
                  </a:lnTo>
                  <a:lnTo>
                    <a:pt x="238" y="9"/>
                  </a:lnTo>
                  <a:lnTo>
                    <a:pt x="262" y="3"/>
                  </a:lnTo>
                  <a:lnTo>
                    <a:pt x="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4691" y="1156"/>
              <a:ext cx="981" cy="992"/>
            </a:xfrm>
            <a:custGeom>
              <a:avLst/>
              <a:gdLst>
                <a:gd name="T0" fmla="*/ 629 w 981"/>
                <a:gd name="T1" fmla="*/ 22 h 992"/>
                <a:gd name="T2" fmla="*/ 810 w 981"/>
                <a:gd name="T3" fmla="*/ 123 h 992"/>
                <a:gd name="T4" fmla="*/ 935 w 981"/>
                <a:gd name="T5" fmla="*/ 287 h 992"/>
                <a:gd name="T6" fmla="*/ 981 w 981"/>
                <a:gd name="T7" fmla="*/ 496 h 992"/>
                <a:gd name="T8" fmla="*/ 935 w 981"/>
                <a:gd name="T9" fmla="*/ 705 h 992"/>
                <a:gd name="T10" fmla="*/ 810 w 981"/>
                <a:gd name="T11" fmla="*/ 871 h 992"/>
                <a:gd name="T12" fmla="*/ 629 w 981"/>
                <a:gd name="T13" fmla="*/ 972 h 992"/>
                <a:gd name="T14" fmla="*/ 415 w 981"/>
                <a:gd name="T15" fmla="*/ 987 h 992"/>
                <a:gd name="T16" fmla="*/ 222 w 981"/>
                <a:gd name="T17" fmla="*/ 917 h 992"/>
                <a:gd name="T18" fmla="*/ 79 w 981"/>
                <a:gd name="T19" fmla="*/ 779 h 992"/>
                <a:gd name="T20" fmla="*/ 0 w 981"/>
                <a:gd name="T21" fmla="*/ 590 h 992"/>
                <a:gd name="T22" fmla="*/ 121 w 981"/>
                <a:gd name="T23" fmla="*/ 695 h 992"/>
                <a:gd name="T24" fmla="*/ 244 w 981"/>
                <a:gd name="T25" fmla="*/ 835 h 992"/>
                <a:gd name="T26" fmla="*/ 420 w 981"/>
                <a:gd name="T27" fmla="*/ 907 h 992"/>
                <a:gd name="T28" fmla="*/ 605 w 981"/>
                <a:gd name="T29" fmla="*/ 895 h 992"/>
                <a:gd name="T30" fmla="*/ 759 w 981"/>
                <a:gd name="T31" fmla="*/ 809 h 992"/>
                <a:gd name="T32" fmla="*/ 861 w 981"/>
                <a:gd name="T33" fmla="*/ 672 h 992"/>
                <a:gd name="T34" fmla="*/ 900 w 981"/>
                <a:gd name="T35" fmla="*/ 496 h 992"/>
                <a:gd name="T36" fmla="*/ 861 w 981"/>
                <a:gd name="T37" fmla="*/ 321 h 992"/>
                <a:gd name="T38" fmla="*/ 759 w 981"/>
                <a:gd name="T39" fmla="*/ 183 h 992"/>
                <a:gd name="T40" fmla="*/ 605 w 981"/>
                <a:gd name="T41" fmla="*/ 99 h 992"/>
                <a:gd name="T42" fmla="*/ 425 w 981"/>
                <a:gd name="T43" fmla="*/ 85 h 992"/>
                <a:gd name="T44" fmla="*/ 263 w 981"/>
                <a:gd name="T45" fmla="*/ 145 h 992"/>
                <a:gd name="T46" fmla="*/ 142 w 981"/>
                <a:gd name="T47" fmla="*/ 265 h 992"/>
                <a:gd name="T48" fmla="*/ 116 w 981"/>
                <a:gd name="T49" fmla="*/ 320 h 992"/>
                <a:gd name="T50" fmla="*/ 130 w 981"/>
                <a:gd name="T51" fmla="*/ 369 h 992"/>
                <a:gd name="T52" fmla="*/ 261 w 981"/>
                <a:gd name="T53" fmla="*/ 378 h 992"/>
                <a:gd name="T54" fmla="*/ 347 w 981"/>
                <a:gd name="T55" fmla="*/ 378 h 992"/>
                <a:gd name="T56" fmla="*/ 321 w 981"/>
                <a:gd name="T57" fmla="*/ 458 h 992"/>
                <a:gd name="T58" fmla="*/ 289 w 981"/>
                <a:gd name="T59" fmla="*/ 590 h 992"/>
                <a:gd name="T60" fmla="*/ 318 w 981"/>
                <a:gd name="T61" fmla="*/ 618 h 992"/>
                <a:gd name="T62" fmla="*/ 388 w 981"/>
                <a:gd name="T63" fmla="*/ 609 h 992"/>
                <a:gd name="T64" fmla="*/ 415 w 981"/>
                <a:gd name="T65" fmla="*/ 681 h 992"/>
                <a:gd name="T66" fmla="*/ 326 w 981"/>
                <a:gd name="T67" fmla="*/ 700 h 992"/>
                <a:gd name="T68" fmla="*/ 246 w 981"/>
                <a:gd name="T69" fmla="*/ 672 h 992"/>
                <a:gd name="T70" fmla="*/ 207 w 981"/>
                <a:gd name="T71" fmla="*/ 595 h 992"/>
                <a:gd name="T72" fmla="*/ 236 w 981"/>
                <a:gd name="T73" fmla="*/ 458 h 992"/>
                <a:gd name="T74" fmla="*/ 130 w 981"/>
                <a:gd name="T75" fmla="*/ 455 h 992"/>
                <a:gd name="T76" fmla="*/ 62 w 981"/>
                <a:gd name="T77" fmla="*/ 424 h 992"/>
                <a:gd name="T78" fmla="*/ 29 w 981"/>
                <a:gd name="T79" fmla="*/ 347 h 992"/>
                <a:gd name="T80" fmla="*/ 56 w 981"/>
                <a:gd name="T81" fmla="*/ 250 h 992"/>
                <a:gd name="T82" fmla="*/ 181 w 981"/>
                <a:gd name="T83" fmla="*/ 106 h 992"/>
                <a:gd name="T84" fmla="*/ 354 w 981"/>
                <a:gd name="T85" fmla="*/ 19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1" h="992">
                  <a:moveTo>
                    <a:pt x="485" y="0"/>
                  </a:moveTo>
                  <a:lnTo>
                    <a:pt x="559" y="7"/>
                  </a:lnTo>
                  <a:lnTo>
                    <a:pt x="629" y="22"/>
                  </a:lnTo>
                  <a:lnTo>
                    <a:pt x="694" y="46"/>
                  </a:lnTo>
                  <a:lnTo>
                    <a:pt x="755" y="80"/>
                  </a:lnTo>
                  <a:lnTo>
                    <a:pt x="810" y="123"/>
                  </a:lnTo>
                  <a:lnTo>
                    <a:pt x="859" y="171"/>
                  </a:lnTo>
                  <a:lnTo>
                    <a:pt x="900" y="226"/>
                  </a:lnTo>
                  <a:lnTo>
                    <a:pt x="935" y="287"/>
                  </a:lnTo>
                  <a:lnTo>
                    <a:pt x="960" y="354"/>
                  </a:lnTo>
                  <a:lnTo>
                    <a:pt x="976" y="422"/>
                  </a:lnTo>
                  <a:lnTo>
                    <a:pt x="981" y="496"/>
                  </a:lnTo>
                  <a:lnTo>
                    <a:pt x="976" y="570"/>
                  </a:lnTo>
                  <a:lnTo>
                    <a:pt x="960" y="640"/>
                  </a:lnTo>
                  <a:lnTo>
                    <a:pt x="935" y="705"/>
                  </a:lnTo>
                  <a:lnTo>
                    <a:pt x="900" y="767"/>
                  </a:lnTo>
                  <a:lnTo>
                    <a:pt x="859" y="821"/>
                  </a:lnTo>
                  <a:lnTo>
                    <a:pt x="810" y="871"/>
                  </a:lnTo>
                  <a:lnTo>
                    <a:pt x="755" y="912"/>
                  </a:lnTo>
                  <a:lnTo>
                    <a:pt x="694" y="946"/>
                  </a:lnTo>
                  <a:lnTo>
                    <a:pt x="629" y="972"/>
                  </a:lnTo>
                  <a:lnTo>
                    <a:pt x="559" y="987"/>
                  </a:lnTo>
                  <a:lnTo>
                    <a:pt x="485" y="992"/>
                  </a:lnTo>
                  <a:lnTo>
                    <a:pt x="415" y="987"/>
                  </a:lnTo>
                  <a:lnTo>
                    <a:pt x="347" y="972"/>
                  </a:lnTo>
                  <a:lnTo>
                    <a:pt x="282" y="950"/>
                  </a:lnTo>
                  <a:lnTo>
                    <a:pt x="222" y="917"/>
                  </a:lnTo>
                  <a:lnTo>
                    <a:pt x="169" y="878"/>
                  </a:lnTo>
                  <a:lnTo>
                    <a:pt x="120" y="832"/>
                  </a:lnTo>
                  <a:lnTo>
                    <a:pt x="79" y="779"/>
                  </a:lnTo>
                  <a:lnTo>
                    <a:pt x="44" y="720"/>
                  </a:lnTo>
                  <a:lnTo>
                    <a:pt x="17" y="657"/>
                  </a:lnTo>
                  <a:lnTo>
                    <a:pt x="0" y="590"/>
                  </a:lnTo>
                  <a:lnTo>
                    <a:pt x="79" y="575"/>
                  </a:lnTo>
                  <a:lnTo>
                    <a:pt x="96" y="636"/>
                  </a:lnTo>
                  <a:lnTo>
                    <a:pt x="121" y="695"/>
                  </a:lnTo>
                  <a:lnTo>
                    <a:pt x="156" y="748"/>
                  </a:lnTo>
                  <a:lnTo>
                    <a:pt x="197" y="794"/>
                  </a:lnTo>
                  <a:lnTo>
                    <a:pt x="244" y="835"/>
                  </a:lnTo>
                  <a:lnTo>
                    <a:pt x="297" y="868"/>
                  </a:lnTo>
                  <a:lnTo>
                    <a:pt x="357" y="891"/>
                  </a:lnTo>
                  <a:lnTo>
                    <a:pt x="420" y="907"/>
                  </a:lnTo>
                  <a:lnTo>
                    <a:pt x="485" y="912"/>
                  </a:lnTo>
                  <a:lnTo>
                    <a:pt x="547" y="907"/>
                  </a:lnTo>
                  <a:lnTo>
                    <a:pt x="605" y="895"/>
                  </a:lnTo>
                  <a:lnTo>
                    <a:pt x="661" y="873"/>
                  </a:lnTo>
                  <a:lnTo>
                    <a:pt x="711" y="845"/>
                  </a:lnTo>
                  <a:lnTo>
                    <a:pt x="759" y="809"/>
                  </a:lnTo>
                  <a:lnTo>
                    <a:pt x="798" y="770"/>
                  </a:lnTo>
                  <a:lnTo>
                    <a:pt x="834" y="722"/>
                  </a:lnTo>
                  <a:lnTo>
                    <a:pt x="861" y="672"/>
                  </a:lnTo>
                  <a:lnTo>
                    <a:pt x="883" y="616"/>
                  </a:lnTo>
                  <a:lnTo>
                    <a:pt x="895" y="558"/>
                  </a:lnTo>
                  <a:lnTo>
                    <a:pt x="900" y="496"/>
                  </a:lnTo>
                  <a:lnTo>
                    <a:pt x="895" y="434"/>
                  </a:lnTo>
                  <a:lnTo>
                    <a:pt x="883" y="376"/>
                  </a:lnTo>
                  <a:lnTo>
                    <a:pt x="861" y="321"/>
                  </a:lnTo>
                  <a:lnTo>
                    <a:pt x="834" y="270"/>
                  </a:lnTo>
                  <a:lnTo>
                    <a:pt x="798" y="224"/>
                  </a:lnTo>
                  <a:lnTo>
                    <a:pt x="759" y="183"/>
                  </a:lnTo>
                  <a:lnTo>
                    <a:pt x="711" y="149"/>
                  </a:lnTo>
                  <a:lnTo>
                    <a:pt x="661" y="120"/>
                  </a:lnTo>
                  <a:lnTo>
                    <a:pt x="605" y="99"/>
                  </a:lnTo>
                  <a:lnTo>
                    <a:pt x="547" y="85"/>
                  </a:lnTo>
                  <a:lnTo>
                    <a:pt x="485" y="80"/>
                  </a:lnTo>
                  <a:lnTo>
                    <a:pt x="425" y="85"/>
                  </a:lnTo>
                  <a:lnTo>
                    <a:pt x="367" y="97"/>
                  </a:lnTo>
                  <a:lnTo>
                    <a:pt x="314" y="118"/>
                  </a:lnTo>
                  <a:lnTo>
                    <a:pt x="263" y="145"/>
                  </a:lnTo>
                  <a:lnTo>
                    <a:pt x="217" y="179"/>
                  </a:lnTo>
                  <a:lnTo>
                    <a:pt x="176" y="219"/>
                  </a:lnTo>
                  <a:lnTo>
                    <a:pt x="142" y="265"/>
                  </a:lnTo>
                  <a:lnTo>
                    <a:pt x="140" y="267"/>
                  </a:lnTo>
                  <a:lnTo>
                    <a:pt x="127" y="294"/>
                  </a:lnTo>
                  <a:lnTo>
                    <a:pt x="116" y="320"/>
                  </a:lnTo>
                  <a:lnTo>
                    <a:pt x="115" y="340"/>
                  </a:lnTo>
                  <a:lnTo>
                    <a:pt x="118" y="357"/>
                  </a:lnTo>
                  <a:lnTo>
                    <a:pt x="130" y="369"/>
                  </a:lnTo>
                  <a:lnTo>
                    <a:pt x="149" y="376"/>
                  </a:lnTo>
                  <a:lnTo>
                    <a:pt x="173" y="378"/>
                  </a:lnTo>
                  <a:lnTo>
                    <a:pt x="261" y="378"/>
                  </a:lnTo>
                  <a:lnTo>
                    <a:pt x="304" y="246"/>
                  </a:lnTo>
                  <a:lnTo>
                    <a:pt x="390" y="246"/>
                  </a:lnTo>
                  <a:lnTo>
                    <a:pt x="347" y="378"/>
                  </a:lnTo>
                  <a:lnTo>
                    <a:pt x="444" y="378"/>
                  </a:lnTo>
                  <a:lnTo>
                    <a:pt x="419" y="458"/>
                  </a:lnTo>
                  <a:lnTo>
                    <a:pt x="321" y="458"/>
                  </a:lnTo>
                  <a:lnTo>
                    <a:pt x="289" y="556"/>
                  </a:lnTo>
                  <a:lnTo>
                    <a:pt x="287" y="575"/>
                  </a:lnTo>
                  <a:lnTo>
                    <a:pt x="289" y="590"/>
                  </a:lnTo>
                  <a:lnTo>
                    <a:pt x="294" y="604"/>
                  </a:lnTo>
                  <a:lnTo>
                    <a:pt x="304" y="612"/>
                  </a:lnTo>
                  <a:lnTo>
                    <a:pt x="318" y="618"/>
                  </a:lnTo>
                  <a:lnTo>
                    <a:pt x="330" y="619"/>
                  </a:lnTo>
                  <a:lnTo>
                    <a:pt x="359" y="618"/>
                  </a:lnTo>
                  <a:lnTo>
                    <a:pt x="388" y="609"/>
                  </a:lnTo>
                  <a:lnTo>
                    <a:pt x="396" y="647"/>
                  </a:lnTo>
                  <a:lnTo>
                    <a:pt x="405" y="664"/>
                  </a:lnTo>
                  <a:lnTo>
                    <a:pt x="415" y="681"/>
                  </a:lnTo>
                  <a:lnTo>
                    <a:pt x="386" y="691"/>
                  </a:lnTo>
                  <a:lnTo>
                    <a:pt x="357" y="698"/>
                  </a:lnTo>
                  <a:lnTo>
                    <a:pt x="326" y="700"/>
                  </a:lnTo>
                  <a:lnTo>
                    <a:pt x="297" y="696"/>
                  </a:lnTo>
                  <a:lnTo>
                    <a:pt x="270" y="688"/>
                  </a:lnTo>
                  <a:lnTo>
                    <a:pt x="246" y="672"/>
                  </a:lnTo>
                  <a:lnTo>
                    <a:pt x="227" y="652"/>
                  </a:lnTo>
                  <a:lnTo>
                    <a:pt x="214" y="626"/>
                  </a:lnTo>
                  <a:lnTo>
                    <a:pt x="207" y="595"/>
                  </a:lnTo>
                  <a:lnTo>
                    <a:pt x="205" y="563"/>
                  </a:lnTo>
                  <a:lnTo>
                    <a:pt x="214" y="530"/>
                  </a:lnTo>
                  <a:lnTo>
                    <a:pt x="236" y="458"/>
                  </a:lnTo>
                  <a:lnTo>
                    <a:pt x="173" y="458"/>
                  </a:lnTo>
                  <a:lnTo>
                    <a:pt x="154" y="458"/>
                  </a:lnTo>
                  <a:lnTo>
                    <a:pt x="130" y="455"/>
                  </a:lnTo>
                  <a:lnTo>
                    <a:pt x="106" y="450"/>
                  </a:lnTo>
                  <a:lnTo>
                    <a:pt x="84" y="440"/>
                  </a:lnTo>
                  <a:lnTo>
                    <a:pt x="62" y="424"/>
                  </a:lnTo>
                  <a:lnTo>
                    <a:pt x="46" y="402"/>
                  </a:lnTo>
                  <a:lnTo>
                    <a:pt x="34" y="376"/>
                  </a:lnTo>
                  <a:lnTo>
                    <a:pt x="29" y="347"/>
                  </a:lnTo>
                  <a:lnTo>
                    <a:pt x="33" y="316"/>
                  </a:lnTo>
                  <a:lnTo>
                    <a:pt x="41" y="284"/>
                  </a:lnTo>
                  <a:lnTo>
                    <a:pt x="56" y="250"/>
                  </a:lnTo>
                  <a:lnTo>
                    <a:pt x="92" y="197"/>
                  </a:lnTo>
                  <a:lnTo>
                    <a:pt x="133" y="147"/>
                  </a:lnTo>
                  <a:lnTo>
                    <a:pt x="181" y="106"/>
                  </a:lnTo>
                  <a:lnTo>
                    <a:pt x="234" y="70"/>
                  </a:lnTo>
                  <a:lnTo>
                    <a:pt x="292" y="41"/>
                  </a:lnTo>
                  <a:lnTo>
                    <a:pt x="354" y="19"/>
                  </a:lnTo>
                  <a:lnTo>
                    <a:pt x="419" y="5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5125" y="1534"/>
              <a:ext cx="396" cy="322"/>
            </a:xfrm>
            <a:custGeom>
              <a:avLst/>
              <a:gdLst>
                <a:gd name="T0" fmla="*/ 58 w 396"/>
                <a:gd name="T1" fmla="*/ 0 h 322"/>
                <a:gd name="T2" fmla="*/ 144 w 396"/>
                <a:gd name="T3" fmla="*/ 0 h 322"/>
                <a:gd name="T4" fmla="*/ 82 w 396"/>
                <a:gd name="T5" fmla="*/ 190 h 322"/>
                <a:gd name="T6" fmla="*/ 80 w 396"/>
                <a:gd name="T7" fmla="*/ 205 h 322"/>
                <a:gd name="T8" fmla="*/ 82 w 396"/>
                <a:gd name="T9" fmla="*/ 219 h 322"/>
                <a:gd name="T10" fmla="*/ 87 w 396"/>
                <a:gd name="T11" fmla="*/ 228 h 322"/>
                <a:gd name="T12" fmla="*/ 96 w 396"/>
                <a:gd name="T13" fmla="*/ 234 h 322"/>
                <a:gd name="T14" fmla="*/ 106 w 396"/>
                <a:gd name="T15" fmla="*/ 240 h 322"/>
                <a:gd name="T16" fmla="*/ 116 w 396"/>
                <a:gd name="T17" fmla="*/ 241 h 322"/>
                <a:gd name="T18" fmla="*/ 140 w 396"/>
                <a:gd name="T19" fmla="*/ 238 h 322"/>
                <a:gd name="T20" fmla="*/ 164 w 396"/>
                <a:gd name="T21" fmla="*/ 226 h 322"/>
                <a:gd name="T22" fmla="*/ 186 w 396"/>
                <a:gd name="T23" fmla="*/ 211 h 322"/>
                <a:gd name="T24" fmla="*/ 203 w 396"/>
                <a:gd name="T25" fmla="*/ 188 h 322"/>
                <a:gd name="T26" fmla="*/ 215 w 396"/>
                <a:gd name="T27" fmla="*/ 164 h 322"/>
                <a:gd name="T28" fmla="*/ 215 w 396"/>
                <a:gd name="T29" fmla="*/ 164 h 322"/>
                <a:gd name="T30" fmla="*/ 268 w 396"/>
                <a:gd name="T31" fmla="*/ 0 h 322"/>
                <a:gd name="T32" fmla="*/ 352 w 396"/>
                <a:gd name="T33" fmla="*/ 0 h 322"/>
                <a:gd name="T34" fmla="*/ 292 w 396"/>
                <a:gd name="T35" fmla="*/ 190 h 322"/>
                <a:gd name="T36" fmla="*/ 289 w 396"/>
                <a:gd name="T37" fmla="*/ 199 h 322"/>
                <a:gd name="T38" fmla="*/ 289 w 396"/>
                <a:gd name="T39" fmla="*/ 205 h 322"/>
                <a:gd name="T40" fmla="*/ 289 w 396"/>
                <a:gd name="T41" fmla="*/ 212 h 322"/>
                <a:gd name="T42" fmla="*/ 289 w 396"/>
                <a:gd name="T43" fmla="*/ 212 h 322"/>
                <a:gd name="T44" fmla="*/ 289 w 396"/>
                <a:gd name="T45" fmla="*/ 214 h 322"/>
                <a:gd name="T46" fmla="*/ 290 w 396"/>
                <a:gd name="T47" fmla="*/ 221 h 322"/>
                <a:gd name="T48" fmla="*/ 294 w 396"/>
                <a:gd name="T49" fmla="*/ 226 h 322"/>
                <a:gd name="T50" fmla="*/ 297 w 396"/>
                <a:gd name="T51" fmla="*/ 231 h 322"/>
                <a:gd name="T52" fmla="*/ 302 w 396"/>
                <a:gd name="T53" fmla="*/ 236 h 322"/>
                <a:gd name="T54" fmla="*/ 306 w 396"/>
                <a:gd name="T55" fmla="*/ 238 h 322"/>
                <a:gd name="T56" fmla="*/ 325 w 396"/>
                <a:gd name="T57" fmla="*/ 248 h 322"/>
                <a:gd name="T58" fmla="*/ 345 w 396"/>
                <a:gd name="T59" fmla="*/ 252 h 322"/>
                <a:gd name="T60" fmla="*/ 367 w 396"/>
                <a:gd name="T61" fmla="*/ 253 h 322"/>
                <a:gd name="T62" fmla="*/ 384 w 396"/>
                <a:gd name="T63" fmla="*/ 252 h 322"/>
                <a:gd name="T64" fmla="*/ 396 w 396"/>
                <a:gd name="T65" fmla="*/ 250 h 322"/>
                <a:gd name="T66" fmla="*/ 393 w 396"/>
                <a:gd name="T67" fmla="*/ 262 h 322"/>
                <a:gd name="T68" fmla="*/ 384 w 396"/>
                <a:gd name="T69" fmla="*/ 279 h 322"/>
                <a:gd name="T70" fmla="*/ 378 w 396"/>
                <a:gd name="T71" fmla="*/ 294 h 322"/>
                <a:gd name="T72" fmla="*/ 367 w 396"/>
                <a:gd name="T73" fmla="*/ 310 h 322"/>
                <a:gd name="T74" fmla="*/ 362 w 396"/>
                <a:gd name="T75" fmla="*/ 318 h 322"/>
                <a:gd name="T76" fmla="*/ 359 w 396"/>
                <a:gd name="T77" fmla="*/ 320 h 322"/>
                <a:gd name="T78" fmla="*/ 354 w 396"/>
                <a:gd name="T79" fmla="*/ 320 h 322"/>
                <a:gd name="T80" fmla="*/ 347 w 396"/>
                <a:gd name="T81" fmla="*/ 322 h 322"/>
                <a:gd name="T82" fmla="*/ 340 w 396"/>
                <a:gd name="T83" fmla="*/ 322 h 322"/>
                <a:gd name="T84" fmla="*/ 321 w 396"/>
                <a:gd name="T85" fmla="*/ 322 h 322"/>
                <a:gd name="T86" fmla="*/ 299 w 396"/>
                <a:gd name="T87" fmla="*/ 318 h 322"/>
                <a:gd name="T88" fmla="*/ 275 w 396"/>
                <a:gd name="T89" fmla="*/ 313 h 322"/>
                <a:gd name="T90" fmla="*/ 258 w 396"/>
                <a:gd name="T91" fmla="*/ 305 h 322"/>
                <a:gd name="T92" fmla="*/ 243 w 396"/>
                <a:gd name="T93" fmla="*/ 293 h 322"/>
                <a:gd name="T94" fmla="*/ 229 w 396"/>
                <a:gd name="T95" fmla="*/ 277 h 322"/>
                <a:gd name="T96" fmla="*/ 193 w 396"/>
                <a:gd name="T97" fmla="*/ 301 h 322"/>
                <a:gd name="T98" fmla="*/ 154 w 396"/>
                <a:gd name="T99" fmla="*/ 317 h 322"/>
                <a:gd name="T100" fmla="*/ 115 w 396"/>
                <a:gd name="T101" fmla="*/ 322 h 322"/>
                <a:gd name="T102" fmla="*/ 85 w 396"/>
                <a:gd name="T103" fmla="*/ 318 h 322"/>
                <a:gd name="T104" fmla="*/ 60 w 396"/>
                <a:gd name="T105" fmla="*/ 310 h 322"/>
                <a:gd name="T106" fmla="*/ 38 w 396"/>
                <a:gd name="T107" fmla="*/ 296 h 322"/>
                <a:gd name="T108" fmla="*/ 19 w 396"/>
                <a:gd name="T109" fmla="*/ 277 h 322"/>
                <a:gd name="T110" fmla="*/ 7 w 396"/>
                <a:gd name="T111" fmla="*/ 252 h 322"/>
                <a:gd name="T112" fmla="*/ 0 w 396"/>
                <a:gd name="T113" fmla="*/ 224 h 322"/>
                <a:gd name="T114" fmla="*/ 0 w 396"/>
                <a:gd name="T115" fmla="*/ 193 h 322"/>
                <a:gd name="T116" fmla="*/ 7 w 396"/>
                <a:gd name="T117" fmla="*/ 164 h 322"/>
                <a:gd name="T118" fmla="*/ 58 w 396"/>
                <a:gd name="T11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6" h="322">
                  <a:moveTo>
                    <a:pt x="58" y="0"/>
                  </a:moveTo>
                  <a:lnTo>
                    <a:pt x="144" y="0"/>
                  </a:lnTo>
                  <a:lnTo>
                    <a:pt x="82" y="190"/>
                  </a:lnTo>
                  <a:lnTo>
                    <a:pt x="80" y="205"/>
                  </a:lnTo>
                  <a:lnTo>
                    <a:pt x="82" y="219"/>
                  </a:lnTo>
                  <a:lnTo>
                    <a:pt x="87" y="228"/>
                  </a:lnTo>
                  <a:lnTo>
                    <a:pt x="96" y="234"/>
                  </a:lnTo>
                  <a:lnTo>
                    <a:pt x="106" y="240"/>
                  </a:lnTo>
                  <a:lnTo>
                    <a:pt x="116" y="241"/>
                  </a:lnTo>
                  <a:lnTo>
                    <a:pt x="140" y="238"/>
                  </a:lnTo>
                  <a:lnTo>
                    <a:pt x="164" y="226"/>
                  </a:lnTo>
                  <a:lnTo>
                    <a:pt x="186" y="211"/>
                  </a:lnTo>
                  <a:lnTo>
                    <a:pt x="203" y="188"/>
                  </a:lnTo>
                  <a:lnTo>
                    <a:pt x="215" y="164"/>
                  </a:lnTo>
                  <a:lnTo>
                    <a:pt x="215" y="164"/>
                  </a:lnTo>
                  <a:lnTo>
                    <a:pt x="268" y="0"/>
                  </a:lnTo>
                  <a:lnTo>
                    <a:pt x="352" y="0"/>
                  </a:lnTo>
                  <a:lnTo>
                    <a:pt x="292" y="190"/>
                  </a:lnTo>
                  <a:lnTo>
                    <a:pt x="289" y="199"/>
                  </a:lnTo>
                  <a:lnTo>
                    <a:pt x="289" y="205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90" y="221"/>
                  </a:lnTo>
                  <a:lnTo>
                    <a:pt x="294" y="226"/>
                  </a:lnTo>
                  <a:lnTo>
                    <a:pt x="297" y="231"/>
                  </a:lnTo>
                  <a:lnTo>
                    <a:pt x="302" y="236"/>
                  </a:lnTo>
                  <a:lnTo>
                    <a:pt x="306" y="238"/>
                  </a:lnTo>
                  <a:lnTo>
                    <a:pt x="325" y="248"/>
                  </a:lnTo>
                  <a:lnTo>
                    <a:pt x="345" y="252"/>
                  </a:lnTo>
                  <a:lnTo>
                    <a:pt x="367" y="253"/>
                  </a:lnTo>
                  <a:lnTo>
                    <a:pt x="384" y="252"/>
                  </a:lnTo>
                  <a:lnTo>
                    <a:pt x="396" y="250"/>
                  </a:lnTo>
                  <a:lnTo>
                    <a:pt x="393" y="262"/>
                  </a:lnTo>
                  <a:lnTo>
                    <a:pt x="384" y="279"/>
                  </a:lnTo>
                  <a:lnTo>
                    <a:pt x="378" y="294"/>
                  </a:lnTo>
                  <a:lnTo>
                    <a:pt x="367" y="310"/>
                  </a:lnTo>
                  <a:lnTo>
                    <a:pt x="362" y="318"/>
                  </a:lnTo>
                  <a:lnTo>
                    <a:pt x="359" y="320"/>
                  </a:lnTo>
                  <a:lnTo>
                    <a:pt x="354" y="320"/>
                  </a:lnTo>
                  <a:lnTo>
                    <a:pt x="347" y="322"/>
                  </a:lnTo>
                  <a:lnTo>
                    <a:pt x="340" y="322"/>
                  </a:lnTo>
                  <a:lnTo>
                    <a:pt x="321" y="322"/>
                  </a:lnTo>
                  <a:lnTo>
                    <a:pt x="299" y="318"/>
                  </a:lnTo>
                  <a:lnTo>
                    <a:pt x="275" y="313"/>
                  </a:lnTo>
                  <a:lnTo>
                    <a:pt x="258" y="305"/>
                  </a:lnTo>
                  <a:lnTo>
                    <a:pt x="243" y="293"/>
                  </a:lnTo>
                  <a:lnTo>
                    <a:pt x="229" y="277"/>
                  </a:lnTo>
                  <a:lnTo>
                    <a:pt x="193" y="301"/>
                  </a:lnTo>
                  <a:lnTo>
                    <a:pt x="154" y="317"/>
                  </a:lnTo>
                  <a:lnTo>
                    <a:pt x="115" y="322"/>
                  </a:lnTo>
                  <a:lnTo>
                    <a:pt x="85" y="318"/>
                  </a:lnTo>
                  <a:lnTo>
                    <a:pt x="60" y="310"/>
                  </a:lnTo>
                  <a:lnTo>
                    <a:pt x="38" y="296"/>
                  </a:lnTo>
                  <a:lnTo>
                    <a:pt x="19" y="277"/>
                  </a:lnTo>
                  <a:lnTo>
                    <a:pt x="7" y="252"/>
                  </a:lnTo>
                  <a:lnTo>
                    <a:pt x="0" y="224"/>
                  </a:lnTo>
                  <a:lnTo>
                    <a:pt x="0" y="193"/>
                  </a:lnTo>
                  <a:lnTo>
                    <a:pt x="7" y="16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5007" y="2496"/>
              <a:ext cx="127" cy="127"/>
            </a:xfrm>
            <a:custGeom>
              <a:avLst/>
              <a:gdLst>
                <a:gd name="T0" fmla="*/ 53 w 127"/>
                <a:gd name="T1" fmla="*/ 65 h 127"/>
                <a:gd name="T2" fmla="*/ 74 w 127"/>
                <a:gd name="T3" fmla="*/ 63 h 127"/>
                <a:gd name="T4" fmla="*/ 80 w 127"/>
                <a:gd name="T5" fmla="*/ 58 h 127"/>
                <a:gd name="T6" fmla="*/ 80 w 127"/>
                <a:gd name="T7" fmla="*/ 48 h 127"/>
                <a:gd name="T8" fmla="*/ 74 w 127"/>
                <a:gd name="T9" fmla="*/ 41 h 127"/>
                <a:gd name="T10" fmla="*/ 53 w 127"/>
                <a:gd name="T11" fmla="*/ 41 h 127"/>
                <a:gd name="T12" fmla="*/ 68 w 127"/>
                <a:gd name="T13" fmla="*/ 32 h 127"/>
                <a:gd name="T14" fmla="*/ 79 w 127"/>
                <a:gd name="T15" fmla="*/ 34 h 127"/>
                <a:gd name="T16" fmla="*/ 87 w 127"/>
                <a:gd name="T17" fmla="*/ 41 h 127"/>
                <a:gd name="T18" fmla="*/ 91 w 127"/>
                <a:gd name="T19" fmla="*/ 53 h 127"/>
                <a:gd name="T20" fmla="*/ 86 w 127"/>
                <a:gd name="T21" fmla="*/ 65 h 127"/>
                <a:gd name="T22" fmla="*/ 75 w 127"/>
                <a:gd name="T23" fmla="*/ 72 h 127"/>
                <a:gd name="T24" fmla="*/ 92 w 127"/>
                <a:gd name="T25" fmla="*/ 94 h 127"/>
                <a:gd name="T26" fmla="*/ 67 w 127"/>
                <a:gd name="T27" fmla="*/ 72 h 127"/>
                <a:gd name="T28" fmla="*/ 53 w 127"/>
                <a:gd name="T29" fmla="*/ 94 h 127"/>
                <a:gd name="T30" fmla="*/ 43 w 127"/>
                <a:gd name="T31" fmla="*/ 32 h 127"/>
                <a:gd name="T32" fmla="*/ 39 w 127"/>
                <a:gd name="T33" fmla="*/ 15 h 127"/>
                <a:gd name="T34" fmla="*/ 16 w 127"/>
                <a:gd name="T35" fmla="*/ 41 h 127"/>
                <a:gd name="T36" fmla="*/ 16 w 127"/>
                <a:gd name="T37" fmla="*/ 84 h 127"/>
                <a:gd name="T38" fmla="*/ 39 w 127"/>
                <a:gd name="T39" fmla="*/ 111 h 127"/>
                <a:gd name="T40" fmla="*/ 72 w 127"/>
                <a:gd name="T41" fmla="*/ 116 h 127"/>
                <a:gd name="T42" fmla="*/ 103 w 127"/>
                <a:gd name="T43" fmla="*/ 101 h 127"/>
                <a:gd name="T44" fmla="*/ 116 w 127"/>
                <a:gd name="T45" fmla="*/ 63 h 127"/>
                <a:gd name="T46" fmla="*/ 103 w 127"/>
                <a:gd name="T47" fmla="*/ 26 h 127"/>
                <a:gd name="T48" fmla="*/ 72 w 127"/>
                <a:gd name="T49" fmla="*/ 10 h 127"/>
                <a:gd name="T50" fmla="*/ 63 w 127"/>
                <a:gd name="T51" fmla="*/ 0 h 127"/>
                <a:gd name="T52" fmla="*/ 99 w 127"/>
                <a:gd name="T53" fmla="*/ 10 h 127"/>
                <a:gd name="T54" fmla="*/ 123 w 127"/>
                <a:gd name="T55" fmla="*/ 41 h 127"/>
                <a:gd name="T56" fmla="*/ 123 w 127"/>
                <a:gd name="T57" fmla="*/ 85 h 127"/>
                <a:gd name="T58" fmla="*/ 99 w 127"/>
                <a:gd name="T59" fmla="*/ 116 h 127"/>
                <a:gd name="T60" fmla="*/ 63 w 127"/>
                <a:gd name="T61" fmla="*/ 127 h 127"/>
                <a:gd name="T62" fmla="*/ 27 w 127"/>
                <a:gd name="T63" fmla="*/ 116 h 127"/>
                <a:gd name="T64" fmla="*/ 4 w 127"/>
                <a:gd name="T65" fmla="*/ 85 h 127"/>
                <a:gd name="T66" fmla="*/ 4 w 127"/>
                <a:gd name="T67" fmla="*/ 41 h 127"/>
                <a:gd name="T68" fmla="*/ 27 w 127"/>
                <a:gd name="T69" fmla="*/ 10 h 127"/>
                <a:gd name="T70" fmla="*/ 63 w 127"/>
                <a:gd name="T7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7" h="127">
                  <a:moveTo>
                    <a:pt x="53" y="41"/>
                  </a:moveTo>
                  <a:lnTo>
                    <a:pt x="53" y="65"/>
                  </a:lnTo>
                  <a:lnTo>
                    <a:pt x="68" y="65"/>
                  </a:lnTo>
                  <a:lnTo>
                    <a:pt x="74" y="63"/>
                  </a:lnTo>
                  <a:lnTo>
                    <a:pt x="77" y="62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48"/>
                  </a:lnTo>
                  <a:lnTo>
                    <a:pt x="77" y="44"/>
                  </a:lnTo>
                  <a:lnTo>
                    <a:pt x="74" y="41"/>
                  </a:lnTo>
                  <a:lnTo>
                    <a:pt x="68" y="41"/>
                  </a:lnTo>
                  <a:lnTo>
                    <a:pt x="53" y="41"/>
                  </a:lnTo>
                  <a:close/>
                  <a:moveTo>
                    <a:pt x="43" y="32"/>
                  </a:moveTo>
                  <a:lnTo>
                    <a:pt x="68" y="32"/>
                  </a:lnTo>
                  <a:lnTo>
                    <a:pt x="74" y="32"/>
                  </a:lnTo>
                  <a:lnTo>
                    <a:pt x="79" y="34"/>
                  </a:lnTo>
                  <a:lnTo>
                    <a:pt x="84" y="38"/>
                  </a:lnTo>
                  <a:lnTo>
                    <a:pt x="87" y="41"/>
                  </a:lnTo>
                  <a:lnTo>
                    <a:pt x="89" y="46"/>
                  </a:lnTo>
                  <a:lnTo>
                    <a:pt x="91" y="53"/>
                  </a:lnTo>
                  <a:lnTo>
                    <a:pt x="89" y="60"/>
                  </a:lnTo>
                  <a:lnTo>
                    <a:pt x="86" y="65"/>
                  </a:lnTo>
                  <a:lnTo>
                    <a:pt x="82" y="68"/>
                  </a:lnTo>
                  <a:lnTo>
                    <a:pt x="75" y="72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82" y="94"/>
                  </a:lnTo>
                  <a:lnTo>
                    <a:pt x="67" y="72"/>
                  </a:lnTo>
                  <a:lnTo>
                    <a:pt x="53" y="72"/>
                  </a:lnTo>
                  <a:lnTo>
                    <a:pt x="53" y="94"/>
                  </a:lnTo>
                  <a:lnTo>
                    <a:pt x="43" y="94"/>
                  </a:lnTo>
                  <a:lnTo>
                    <a:pt x="43" y="32"/>
                  </a:lnTo>
                  <a:close/>
                  <a:moveTo>
                    <a:pt x="55" y="10"/>
                  </a:moveTo>
                  <a:lnTo>
                    <a:pt x="39" y="15"/>
                  </a:lnTo>
                  <a:lnTo>
                    <a:pt x="24" y="26"/>
                  </a:lnTo>
                  <a:lnTo>
                    <a:pt x="16" y="41"/>
                  </a:lnTo>
                  <a:lnTo>
                    <a:pt x="12" y="63"/>
                  </a:lnTo>
                  <a:lnTo>
                    <a:pt x="16" y="84"/>
                  </a:lnTo>
                  <a:lnTo>
                    <a:pt x="24" y="101"/>
                  </a:lnTo>
                  <a:lnTo>
                    <a:pt x="39" y="111"/>
                  </a:lnTo>
                  <a:lnTo>
                    <a:pt x="55" y="116"/>
                  </a:lnTo>
                  <a:lnTo>
                    <a:pt x="72" y="116"/>
                  </a:lnTo>
                  <a:lnTo>
                    <a:pt x="89" y="111"/>
                  </a:lnTo>
                  <a:lnTo>
                    <a:pt x="103" y="101"/>
                  </a:lnTo>
                  <a:lnTo>
                    <a:pt x="113" y="84"/>
                  </a:lnTo>
                  <a:lnTo>
                    <a:pt x="116" y="63"/>
                  </a:lnTo>
                  <a:lnTo>
                    <a:pt x="113" y="41"/>
                  </a:lnTo>
                  <a:lnTo>
                    <a:pt x="103" y="26"/>
                  </a:lnTo>
                  <a:lnTo>
                    <a:pt x="89" y="15"/>
                  </a:lnTo>
                  <a:lnTo>
                    <a:pt x="72" y="10"/>
                  </a:lnTo>
                  <a:lnTo>
                    <a:pt x="55" y="10"/>
                  </a:lnTo>
                  <a:close/>
                  <a:moveTo>
                    <a:pt x="63" y="0"/>
                  </a:moveTo>
                  <a:lnTo>
                    <a:pt x="82" y="2"/>
                  </a:lnTo>
                  <a:lnTo>
                    <a:pt x="99" y="10"/>
                  </a:lnTo>
                  <a:lnTo>
                    <a:pt x="115" y="22"/>
                  </a:lnTo>
                  <a:lnTo>
                    <a:pt x="123" y="41"/>
                  </a:lnTo>
                  <a:lnTo>
                    <a:pt x="127" y="63"/>
                  </a:lnTo>
                  <a:lnTo>
                    <a:pt x="123" y="85"/>
                  </a:lnTo>
                  <a:lnTo>
                    <a:pt x="115" y="104"/>
                  </a:lnTo>
                  <a:lnTo>
                    <a:pt x="99" y="116"/>
                  </a:lnTo>
                  <a:lnTo>
                    <a:pt x="82" y="125"/>
                  </a:lnTo>
                  <a:lnTo>
                    <a:pt x="63" y="127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4" y="104"/>
                  </a:lnTo>
                  <a:lnTo>
                    <a:pt x="4" y="85"/>
                  </a:lnTo>
                  <a:lnTo>
                    <a:pt x="0" y="63"/>
                  </a:lnTo>
                  <a:lnTo>
                    <a:pt x="4" y="41"/>
                  </a:lnTo>
                  <a:lnTo>
                    <a:pt x="14" y="22"/>
                  </a:lnTo>
                  <a:lnTo>
                    <a:pt x="27" y="10"/>
                  </a:lnTo>
                  <a:lnTo>
                    <a:pt x="45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600" y="5570957"/>
            <a:ext cx="7441436" cy="2462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09600" y="6038971"/>
            <a:ext cx="2608406" cy="307777"/>
          </a:xfrm>
          <a:prstGeom prst="rect">
            <a:avLst/>
          </a:prstGeom>
        </p:spPr>
        <p:txBody>
          <a:bodyPr wrap="none" lIns="91440" rIns="91440">
            <a:spAutoFit/>
          </a:bodyPr>
          <a:lstStyle/>
          <a:p>
            <a:pPr lvl="0"/>
            <a:r>
              <a:rPr lang="en-US" sz="1400">
                <a:solidFill>
                  <a:schemeClr val="tx1"/>
                </a:solidFill>
              </a:rPr>
              <a:t>Confidential |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73486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00200"/>
            <a:ext cx="10969944" cy="45069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837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read 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9974845" y="1"/>
            <a:ext cx="1909259" cy="369332"/>
          </a:xfrm>
          <a:solidFill>
            <a:schemeClr val="tx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1600" b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492869"/>
            <a:ext cx="557264" cy="533480"/>
          </a:xfrm>
          <a:solidFill>
            <a:schemeClr val="tx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2700" b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/>
          </p:nvPr>
        </p:nvSpPr>
        <p:spPr>
          <a:xfrm>
            <a:off x="611499" y="1601788"/>
            <a:ext cx="10967726" cy="4505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3660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read 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9974845" y="1"/>
            <a:ext cx="1909259" cy="369332"/>
          </a:xfrm>
          <a:solidFill>
            <a:schemeClr val="bg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490033"/>
            <a:ext cx="557264" cy="533480"/>
          </a:xfrm>
          <a:solidFill>
            <a:schemeClr val="bg2"/>
          </a:solidFill>
          <a:ln>
            <a:noFill/>
          </a:ln>
        </p:spPr>
        <p:txBody>
          <a:bodyPr lIns="121899" tIns="60949" rIns="121899" bIns="60949" anchor="ctr"/>
          <a:lstStyle>
            <a:lvl1pPr marL="0" indent="0" algn="ctr">
              <a:buNone/>
              <a:defRPr sz="27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11499" y="1601789"/>
            <a:ext cx="10967726" cy="45280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045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9EBDD1-156B-4259-91CF-66C9E54A9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A0AE9-9D67-4203-85E3-D12A955751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403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72" r:id="rId4"/>
    <p:sldLayoutId id="2147483737" r:id="rId5"/>
    <p:sldLayoutId id="2147483735" r:id="rId6"/>
    <p:sldLayoutId id="2147483719" r:id="rId7"/>
    <p:sldLayoutId id="2147483739" r:id="rId8"/>
    <p:sldLayoutId id="2147483740" r:id="rId9"/>
    <p:sldLayoutId id="2147483720" r:id="rId10"/>
    <p:sldLayoutId id="2147483736" r:id="rId11"/>
    <p:sldLayoutId id="2147483722" r:id="rId12"/>
    <p:sldLayoutId id="2147483723" r:id="rId13"/>
    <p:sldLayoutId id="2147483725" r:id="rId14"/>
    <p:sldLayoutId id="2147483726" r:id="rId15"/>
    <p:sldLayoutId id="2147483738" r:id="rId16"/>
    <p:sldLayoutId id="2147483729" r:id="rId17"/>
    <p:sldLayoutId id="2147483730" r:id="rId18"/>
    <p:sldLayoutId id="2147483741" r:id="rId19"/>
    <p:sldLayoutId id="2147483742" r:id="rId20"/>
    <p:sldLayoutId id="2147483743" r:id="rId21"/>
    <p:sldLayoutId id="2147483770" r:id="rId22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88825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158" y="609600"/>
            <a:ext cx="8594429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158" y="2160590"/>
            <a:ext cx="8594429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3257" y="6041363"/>
            <a:ext cx="9117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158" y="6041363"/>
            <a:ext cx="62959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88426" y="6041363"/>
            <a:ext cx="6831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785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</p:sldLayoutIdLst>
  <p:txStyles>
    <p:titleStyle>
      <a:lvl1pPr algn="l" defTabSz="457063" rtl="0" eaLnBrk="1" latinLnBrk="0" hangingPunct="1">
        <a:spcBef>
          <a:spcPct val="0"/>
        </a:spcBef>
        <a:buNone/>
        <a:defRPr sz="3599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797" indent="-342797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7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727" indent="-285664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657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599720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6783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846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0908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7971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5034" indent="-228531" algn="l" defTabSz="457063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1.xml"/><Relationship Id="rId4" Type="http://schemas.openxmlformats.org/officeDocument/2006/relationships/hyperlink" Target="https://www.peoplematters.in/article/industrial-relations/3-years-of-digital-india-heres-what-has-worked-and-what-hasnt-18332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eepika-TestAutomationUser/ECommerce-LoadTest-Project-" TargetMode="External"/><Relationship Id="rId2" Type="http://schemas.openxmlformats.org/officeDocument/2006/relationships/slideLayout" Target="../slideLayouts/slideLayout39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A39305-4FF7-4042-A84A-DBC39BC6F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2C7B66-9637-463C-B84C-C1D33057EA0C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123440" y="332423"/>
            <a:ext cx="7764463" cy="1646237"/>
          </a:xfrm>
        </p:spPr>
        <p:txBody>
          <a:bodyPr>
            <a:normAutofit/>
          </a:bodyPr>
          <a:lstStyle/>
          <a:p>
            <a:pPr algn="ctr"/>
            <a:r>
              <a:rPr lang="en-IN" sz="4000" b="1" dirty="0"/>
              <a:t>Load Test – Ecommerce Si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FEA7AC-AA64-4840-AA60-FC742DD582A1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485991" y="1978660"/>
            <a:ext cx="7764463" cy="1096963"/>
          </a:xfrm>
        </p:spPr>
        <p:txBody>
          <a:bodyPr/>
          <a:lstStyle/>
          <a:p>
            <a:r>
              <a:rPr lang="en-IN" b="1" dirty="0">
                <a:solidFill>
                  <a:schemeClr val="bg1"/>
                </a:solidFill>
              </a:rPr>
              <a:t>User Guide and Observations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ADECAB-7321-4820-8DD6-9DF72EF195C3}"/>
              </a:ext>
            </a:extLst>
          </p:cNvPr>
          <p:cNvSpPr txBox="1"/>
          <p:nvPr/>
        </p:nvSpPr>
        <p:spPr>
          <a:xfrm>
            <a:off x="873760" y="4759960"/>
            <a:ext cx="5059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Created By,</a:t>
            </a:r>
          </a:p>
          <a:p>
            <a:r>
              <a:rPr lang="en-IN" dirty="0" err="1">
                <a:solidFill>
                  <a:schemeClr val="bg1"/>
                </a:solidFill>
              </a:rPr>
              <a:t>Deepikadevi</a:t>
            </a:r>
            <a:r>
              <a:rPr lang="en-IN" dirty="0">
                <a:solidFill>
                  <a:schemeClr val="bg1"/>
                </a:solidFill>
              </a:rPr>
              <a:t> </a:t>
            </a:r>
            <a:r>
              <a:rPr lang="en-IN" dirty="0" err="1">
                <a:solidFill>
                  <a:schemeClr val="bg1"/>
                </a:solidFill>
              </a:rPr>
              <a:t>Thiyagarajan</a:t>
            </a:r>
            <a:endParaRPr lang="en-I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300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GB" dirty="0"/>
              <a:t>1. Did the load test have an impact on the web application response time? </a:t>
            </a:r>
            <a:endParaRPr 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8B3FA7-B32D-4B28-A338-FDCD407FB943}"/>
              </a:ext>
            </a:extLst>
          </p:cNvPr>
          <p:cNvSpPr txBox="1"/>
          <p:nvPr/>
        </p:nvSpPr>
        <p:spPr>
          <a:xfrm>
            <a:off x="489528" y="1280160"/>
            <a:ext cx="985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Response Time for Single User – 856 </a:t>
            </a:r>
            <a:r>
              <a:rPr lang="en-IN" dirty="0" err="1"/>
              <a:t>ms</a:t>
            </a:r>
            <a:r>
              <a:rPr lang="en-IN" dirty="0"/>
              <a:t> </a:t>
            </a:r>
          </a:p>
          <a:p>
            <a:r>
              <a:rPr lang="en-IN" dirty="0"/>
              <a:t>Response Time for Load 1000 User – Ranged between 1275 -37975 </a:t>
            </a:r>
            <a:r>
              <a:rPr lang="en-IN" dirty="0" err="1"/>
              <a:t>ms</a:t>
            </a:r>
            <a:endParaRPr lang="en-I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F6095A-E350-4217-9FCE-EA7B177AB0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529" y="2419530"/>
            <a:ext cx="5604884" cy="31833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2B072E-28B3-4B65-852C-7D62F6631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9153" y="2419530"/>
            <a:ext cx="5442585" cy="313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20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>
            <a:normAutofit fontScale="90000"/>
          </a:bodyPr>
          <a:lstStyle/>
          <a:p>
            <a:r>
              <a:rPr lang="en-GB" dirty="0"/>
              <a:t>1. Did the load test have an impact on the web application response time? </a:t>
            </a:r>
            <a:endParaRPr 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8B3FA7-B32D-4B28-A338-FDCD407FB943}"/>
              </a:ext>
            </a:extLst>
          </p:cNvPr>
          <p:cNvSpPr txBox="1"/>
          <p:nvPr/>
        </p:nvSpPr>
        <p:spPr>
          <a:xfrm>
            <a:off x="489528" y="1280160"/>
            <a:ext cx="9855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Below attached error observed during load tes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A62AFF-14DA-483C-A395-1127F567BD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225" y="1755443"/>
            <a:ext cx="9855200" cy="434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094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6"/>
            <a:ext cx="10058400" cy="1181013"/>
          </a:xfrm>
        </p:spPr>
        <p:txBody>
          <a:bodyPr>
            <a:normAutofit/>
          </a:bodyPr>
          <a:lstStyle/>
          <a:p>
            <a:r>
              <a:rPr lang="en-GB" dirty="0"/>
              <a:t>2. </a:t>
            </a:r>
            <a:r>
              <a:rPr lang="en-GB" dirty="0" err="1"/>
              <a:t>Analyze</a:t>
            </a:r>
            <a:r>
              <a:rPr lang="en-GB" dirty="0"/>
              <a:t> a few HTTP/S responses</a:t>
            </a:r>
            <a:endParaRPr 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8B3FA7-B32D-4B28-A338-FDCD407FB943}"/>
              </a:ext>
            </a:extLst>
          </p:cNvPr>
          <p:cNvSpPr txBox="1"/>
          <p:nvPr/>
        </p:nvSpPr>
        <p:spPr>
          <a:xfrm>
            <a:off x="489528" y="1280160"/>
            <a:ext cx="9855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Below mentioned response code observed during load tes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C139CF-9493-475A-B0B1-F0E42A54EA65}"/>
              </a:ext>
            </a:extLst>
          </p:cNvPr>
          <p:cNvSpPr txBox="1"/>
          <p:nvPr/>
        </p:nvSpPr>
        <p:spPr>
          <a:xfrm>
            <a:off x="489528" y="2123440"/>
            <a:ext cx="934904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/>
              <a:t>200 – OK - 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HTTP 200 OK success status response code </a:t>
            </a:r>
            <a:r>
              <a:rPr lang="en-GB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ndicates that the request has succeeded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/>
              <a:t>503 - Service Unavailable -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</a:t>
            </a:r>
            <a:r>
              <a:rPr lang="en-GB" b="0" i="0" dirty="0" err="1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HyperText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 Transfer Protocol (HTTP) 503 Service Unavailable server error response code indicates that </a:t>
            </a:r>
            <a:r>
              <a:rPr lang="en-GB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server is not ready to handle the request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Common causes are a server that is down for maintenance or that is overloaded.</a:t>
            </a:r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/>
              <a:t>301 - Moved Permanently -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</a:t>
            </a:r>
            <a:r>
              <a:rPr lang="en-GB" b="0" i="0" dirty="0" err="1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HyperText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 Transfer Protocol (HTTP) 301 Moved Permanently redirect status response code indicates that </a:t>
            </a:r>
            <a:r>
              <a:rPr lang="en-GB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requested resource has been definitively moved to the URL given by the Location header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21711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6"/>
            <a:ext cx="10058400" cy="1181013"/>
          </a:xfrm>
        </p:spPr>
        <p:txBody>
          <a:bodyPr>
            <a:normAutofit fontScale="90000"/>
          </a:bodyPr>
          <a:lstStyle/>
          <a:p>
            <a:r>
              <a:rPr lang="en-GB" dirty="0"/>
              <a:t>3. What is the optimal application response time for modern day web applications? </a:t>
            </a:r>
            <a:endParaRPr 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8B3FA7-B32D-4B28-A338-FDCD407FB943}"/>
              </a:ext>
            </a:extLst>
          </p:cNvPr>
          <p:cNvSpPr txBox="1"/>
          <p:nvPr/>
        </p:nvSpPr>
        <p:spPr>
          <a:xfrm>
            <a:off x="723208" y="1869440"/>
            <a:ext cx="98552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 </a:t>
            </a:r>
            <a:r>
              <a:rPr lang="en-GB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one-second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 response time is generally the maximum acceptable limit, as users still likely won't notice a delay. </a:t>
            </a:r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nything more than one second is problematic, and with a delay of around five or six seconds a user will typically leave the website or application entirel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plex applications can extend to 1-2 seconds with partial loading to engage users</a:t>
            </a: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GB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0038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57" y="375558"/>
            <a:ext cx="11185072" cy="5731556"/>
          </a:xfrm>
        </p:spPr>
      </p:pic>
    </p:spTree>
    <p:extLst>
      <p:ext uri="{BB962C8B-B14F-4D97-AF65-F5344CB8AC3E}">
        <p14:creationId xmlns:p14="http://schemas.microsoft.com/office/powerpoint/2010/main" val="396516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523170C-7DC0-4073-A41D-28A679253F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0" y="1600200"/>
            <a:ext cx="11318400" cy="5146040"/>
          </a:xfrm>
        </p:spPr>
        <p:txBody>
          <a:bodyPr>
            <a:normAutofit/>
          </a:bodyPr>
          <a:lstStyle/>
          <a:p>
            <a:r>
              <a:rPr lang="en-IN" b="1" dirty="0"/>
              <a:t>Git Repository </a:t>
            </a:r>
          </a:p>
          <a:p>
            <a:pPr marL="0" indent="0">
              <a:buNone/>
            </a:pPr>
            <a:r>
              <a:rPr lang="en-IN" dirty="0">
                <a:hlinkClick r:id="rId3"/>
              </a:rPr>
              <a:t>https://github.com/Deepika-TestAutomationUser/ECommerce-LoadTest-Project-</a:t>
            </a: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r>
              <a:rPr lang="en-IN" dirty="0"/>
              <a:t>Branch : Main</a:t>
            </a:r>
          </a:p>
          <a:p>
            <a:pPr marL="0" indent="0">
              <a:buNone/>
            </a:pPr>
            <a:r>
              <a:rPr lang="en-IN" dirty="0" err="1"/>
              <a:t>UserName:deepikadevi.testautomation@gmail.com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Password:March%2022</a:t>
            </a:r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A035F-434B-450B-86F5-FFEBF81B4CD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22538" y="3190240"/>
            <a:ext cx="4698098" cy="1320800"/>
          </a:xfrm>
        </p:spPr>
        <p:txBody>
          <a:bodyPr>
            <a:normAutofit fontScale="62500" lnSpcReduction="20000"/>
          </a:bodyPr>
          <a:lstStyle/>
          <a:p>
            <a:r>
              <a:rPr lang="en-IN" dirty="0"/>
              <a:t>Software requirement to run in local</a:t>
            </a:r>
          </a:p>
          <a:p>
            <a:pPr marL="0" indent="0">
              <a:buNone/>
            </a:pPr>
            <a:r>
              <a:rPr lang="en-IN" dirty="0"/>
              <a:t>Apache </a:t>
            </a:r>
            <a:r>
              <a:rPr lang="en-IN" dirty="0" err="1"/>
              <a:t>Jmeter</a:t>
            </a:r>
            <a:r>
              <a:rPr lang="en-IN" dirty="0"/>
              <a:t> Open source software</a:t>
            </a:r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r>
              <a:rPr lang="en-IN" dirty="0"/>
              <a:t>Project can be imported directly for execution</a:t>
            </a:r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BC77FF-46CC-4E11-A80E-D54E08400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Code base and Jenkins Details</a:t>
            </a:r>
          </a:p>
        </p:txBody>
      </p:sp>
    </p:spTree>
    <p:extLst>
      <p:ext uri="{BB962C8B-B14F-4D97-AF65-F5344CB8AC3E}">
        <p14:creationId xmlns:p14="http://schemas.microsoft.com/office/powerpoint/2010/main" val="2162071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Projec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ingle Us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1BA643-39B1-4FB6-8692-6173FC4253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7247" t="-27396" r="-9434" b="9994"/>
          <a:stretch/>
        </p:blipFill>
        <p:spPr>
          <a:xfrm>
            <a:off x="0" y="247186"/>
            <a:ext cx="12188825" cy="651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06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Projec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ingle Us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6E4AD0-B018-4F92-AAE1-BF4C743D330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3955" t="-31034" r="-19985" b="6136"/>
          <a:stretch/>
        </p:blipFill>
        <p:spPr>
          <a:xfrm>
            <a:off x="-1" y="371286"/>
            <a:ext cx="12188825" cy="6115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447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Projec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Single Us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431AE0-3D40-47F6-BF5C-343F64A753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5520" y="1798319"/>
            <a:ext cx="9792913" cy="460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854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– Multiple User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err="1"/>
              <a:t>Jmeter</a:t>
            </a:r>
            <a:r>
              <a:rPr lang="en-US" dirty="0"/>
              <a:t> Projec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D55137-A850-421E-8907-748FABD5144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500"/>
          <a:stretch/>
        </p:blipFill>
        <p:spPr>
          <a:xfrm>
            <a:off x="602932" y="1184031"/>
            <a:ext cx="10982960" cy="523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8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Projec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err="1"/>
              <a:t>Jmeter</a:t>
            </a:r>
            <a:r>
              <a:rPr lang="en-US" dirty="0"/>
              <a:t> Projec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7CA4FB-ACB5-4CAC-8E77-9A4EA7BDC3B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9622"/>
          <a:stretch/>
        </p:blipFill>
        <p:spPr>
          <a:xfrm>
            <a:off x="276424" y="1140059"/>
            <a:ext cx="11635975" cy="524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599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Projec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err="1"/>
              <a:t>Jmeter</a:t>
            </a:r>
            <a:r>
              <a:rPr lang="en-US" dirty="0"/>
              <a:t> Projec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2AD800-0BA2-4325-A30C-2F58E896F5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160" y="1618713"/>
            <a:ext cx="10400665" cy="485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17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4">
                <a:lumMod val="20000"/>
                <a:lumOff val="8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7928" y="99147"/>
            <a:ext cx="10058400" cy="780084"/>
          </a:xfrm>
        </p:spPr>
        <p:txBody>
          <a:bodyPr/>
          <a:lstStyle/>
          <a:p>
            <a:r>
              <a:rPr lang="en-US" b="1" dirty="0"/>
              <a:t>Load Testing Projec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2850" y="1058780"/>
            <a:ext cx="10101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err="1"/>
              <a:t>Jmeter</a:t>
            </a:r>
            <a:r>
              <a:rPr lang="en-US" dirty="0"/>
              <a:t> Proje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1B9664-D327-4264-9A4F-32C949DDDA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559" y="1804671"/>
            <a:ext cx="10776585" cy="46164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A8E0B76-26BA-4612-B8CC-100957A61B3F}"/>
              </a:ext>
            </a:extLst>
          </p:cNvPr>
          <p:cNvSpPr/>
          <p:nvPr/>
        </p:nvSpPr>
        <p:spPr>
          <a:xfrm>
            <a:off x="8280400" y="2753360"/>
            <a:ext cx="1209040" cy="344424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6554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CORPORATE MARKETING&amp;quot;&quot;/&gt;&lt;property id=&quot;20307&quot; value=&quot;256&quot;/&gt;&lt;/object&gt;&lt;object type=&quot;3&quot; unique_id=&quot;10005&quot;&gt;&lt;property id=&quot;20148&quot; value=&quot;5&quot;/&gt;&lt;property id=&quot;20300&quot; value=&quot;Slide 2 - &amp;quot;Introduction&amp;quot;&quot;/&gt;&lt;property id=&quot;20307&quot; value=&quot;257&quot;/&gt;&lt;/object&gt;&lt;object type=&quot;3&quot; unique_id=&quot;10006&quot;&gt;&lt;property id=&quot;20148&quot; value=&quot;5&quot;/&gt;&lt;property id=&quot;20300&quot; value=&quot;Slide 3 - &amp;quot;Corporate color palette&amp;quot;&quot;/&gt;&lt;property id=&quot;20307&quot; value=&quot;258&quot;/&gt;&lt;/object&gt;&lt;object type=&quot;3&quot; unique_id=&quot;10007&quot;&gt;&lt;property id=&quot;20148&quot; value=&quot;5&quot;/&gt;&lt;property id=&quot;20300&quot; value=&quot;Slide 4 - &amp;quot;Presentation title&amp;quot;&quot;/&gt;&lt;property id=&quot;20307&quot; value=&quot;328&quot;/&gt;&lt;/object&gt;&lt;object type=&quot;3&quot; unique_id=&quot;10008&quot;&gt;&lt;property id=&quot;20148&quot; value=&quot;5&quot;/&gt;&lt;property id=&quot;20300&quot; value=&quot;Slide 5 - &amp;quot;Today’s agenda:  &amp;#x0D;&amp;#x0A;&amp;quot;&quot;/&gt;&lt;property id=&quot;20307&quot; value=&quot;329&quot;/&gt;&lt;/object&gt;&lt;object type=&quot;3&quot; unique_id=&quot;10009&quot;&gt;&lt;property id=&quot;20148&quot; value=&quot;5&quot;/&gt;&lt;property id=&quot;20300&quot; value=&quot;Slide 6 - &amp;quot;Headline here. Keep it to two lines. Not three. No one likes a sentence that runs on, and on, and on. Like this one&quot;/&gt;&lt;property id=&quot;20307&quot; value=&quot;330&quot;/&gt;&lt;/object&gt;&lt;object type=&quot;3&quot; unique_id=&quot;10010&quot;&gt;&lt;property id=&quot;20148&quot; value=&quot;5&quot;/&gt;&lt;property id=&quot;20300&quot; value=&quot;Slide 7 - &amp;quot;We get it, there are going to be times when it’s just easier to have three lines. But don’t be that presenter. Two &quot;/&gt;&lt;property id=&quot;20307&quot; value=&quot;331&quot;/&gt;&lt;/object&gt;&lt;object type=&quot;3&quot; unique_id=&quot;10011&quot;&gt;&lt;property id=&quot;20148&quot; value=&quot;5&quot;/&gt;&lt;property id=&quot;20300&quot; value=&quot;Slide 8 - &amp;quot;Headline here. Use two lines. Einstein’s Theory of Relativity? Six word title. So, something to shoot for.&amp;quot;&quot;/&gt;&lt;property id=&quot;20307&quot; value=&quot;332&quot;/&gt;&lt;/object&gt;&lt;object type=&quot;3&quot; unique_id=&quot;10012&quot;&gt;&lt;property id=&quot;20148&quot; value=&quot;5&quot;/&gt;&lt;property id=&quot;20300&quot; value=&quot;Slide 9 - &amp;quot;On this page, a three line headline fits perfectly. &amp;#x0D;&amp;#x0A;Just kidding. Two lines only.&amp;quot;&quot;/&gt;&lt;property id=&quot;20307&quot; value=&quot;333&quot;/&gt;&lt;/object&gt;&lt;object type=&quot;3&quot; unique_id=&quot;10013&quot;&gt;&lt;property id=&quot;20148&quot; value=&quot;5&quot;/&gt;&lt;property id=&quot;20300&quot; value=&quot;Slide 10 - &amp;quot;Headline with a chart below. Even here, use two lines. Short headlines work best.&amp;quot;&quot;/&gt;&lt;property id=&quot;20307&quot; value=&quot;334&quot;/&gt;&lt;/object&gt;&lt;object type=&quot;3&quot; unique_id=&quot;10014&quot;&gt;&lt;property id=&quot;20148&quot; value=&quot;5&quot;/&gt;&lt;property id=&quot;20300&quot; value=&quot;Slide 11 - &amp;quot;Section breaker name&amp;#x0D;&amp;#x0A;&amp;quot;&quot;/&gt;&lt;property id=&quot;20307&quot; value=&quot;335&quot;/&gt;&lt;/object&gt;&lt;object type=&quot;3&quot; unique_id=&quot;10015&quot;&gt;&lt;property id=&quot;20148&quot; value=&quot;5&quot;/&gt;&lt;property id=&quot;20300&quot; value=&quot;Slide 12 - &amp;quot;Sub-section name&amp;#x0D;&amp;#x0A;&amp;quot;&quot;/&gt;&lt;property id=&quot;20307&quot; value=&quot;336&quot;/&gt;&lt;/object&gt;&lt;object type=&quot;3&quot; unique_id=&quot;10016&quot;&gt;&lt;property id=&quot;20148&quot; value=&quot;5&quot;/&gt;&lt;property id=&quot;20300&quot; value=&quot;Slide 13 - &amp;quot;Section breaker name&amp;#x0D;&amp;#x0A;&amp;quot;&quot;/&gt;&lt;property id=&quot;20307&quot; value=&quot;337&quot;/&gt;&lt;/object&gt;&lt;object type=&quot;3&quot; unique_id=&quot;10017&quot;&gt;&lt;property id=&quot;20148&quot; value=&quot;5&quot;/&gt;&lt;property id=&quot;20300&quot; value=&quot;Slide 14 - &amp;quot;Sub-section name&amp;#x0D;&amp;#x0A;&amp;quot;&quot;/&gt;&lt;property id=&quot;20307&quot; value=&quot;338&quot;/&gt;&lt;/object&gt;&lt;object type=&quot;3&quot; unique_id=&quot;10018&quot;&gt;&lt;property id=&quot;20148&quot; value=&quot;5&quot;/&gt;&lt;property id=&quot;20300&quot; value=&quot;Slide 15&quot;/&gt;&lt;property id=&quot;20307&quot; value=&quot;339&quot;/&gt;&lt;/object&gt;&lt;object type=&quot;3&quot; unique_id=&quot;10019&quot;&gt;&lt;property id=&quot;20148&quot; value=&quot;5&quot;/&gt;&lt;property id=&quot;20300&quot; value=&quot;Slide 16&quot;/&gt;&lt;property id=&quot;20307&quot; value=&quot;340&quot;/&gt;&lt;/object&gt;&lt;object type=&quot;3&quot; unique_id=&quot;10020&quot;&gt;&lt;property id=&quot;20148&quot; value=&quot;5&quot;/&gt;&lt;property id=&quot;20300&quot; value=&quot;Slide 17&quot;/&gt;&lt;property id=&quot;20307&quot; value=&quot;341&quot;/&gt;&lt;/object&gt;&lt;object type=&quot;3&quot; unique_id=&quot;10021&quot;&gt;&lt;property id=&quot;20148&quot; value=&quot;5&quot;/&gt;&lt;property id=&quot;20300&quot; value=&quot;Slide 18 - &amp;quot;Creating heavy underlines for inspiring pages&amp;quot;&quot;/&gt;&lt;property id=&quot;20307&quot; value=&quot;342&quot;/&gt;&lt;/object&gt;&lt;object type=&quot;3&quot; unique_id=&quot;10022&quot;&gt;&lt;property id=&quot;20148&quot; value=&quot;5&quot;/&gt;&lt;property id=&quot;20300&quot; value=&quot;Slide 19 - &amp;quot;Corporate Marketing&amp;quot;&quot;/&gt;&lt;property id=&quot;20307&quot; value=&quot;259&quot;/&gt;&lt;/object&gt;&lt;object type=&quot;3&quot; unique_id=&quot;10023&quot;&gt;&lt;property id=&quot;20148&quot; value=&quot;5&quot;/&gt;&lt;property id=&quot;20300&quot; value=&quot;Slide 20 - &amp;quot;Table – highlighted row&amp;quot;&quot;/&gt;&lt;property id=&quot;20307&quot; value=&quot;260&quot;/&gt;&lt;/object&gt;&lt;object type=&quot;3&quot; unique_id=&quot;10024&quot;&gt;&lt;property id=&quot;20148&quot; value=&quot;5&quot;/&gt;&lt;property id=&quot;20300&quot; value=&quot;Slide 21 - &amp;quot;Table – highlighted column&amp;quot;&quot;/&gt;&lt;property id=&quot;20307&quot; value=&quot;261&quot;/&gt;&lt;/object&gt;&lt;object type=&quot;3&quot; unique_id=&quot;10025&quot;&gt;&lt;property id=&quot;20148&quot; value=&quot;5&quot;/&gt;&lt;property id=&quot;20300&quot; value=&quot;Slide 22 - &amp;quot;Table – highlighted columns&amp;quot;&quot;/&gt;&lt;property id=&quot;20307&quot; value=&quot;262&quot;/&gt;&lt;/object&gt;&lt;object type=&quot;3&quot; unique_id=&quot;10026&quot;&gt;&lt;property id=&quot;20148&quot; value=&quot;5&quot;/&gt;&lt;property id=&quot;20300&quot; value=&quot;Slide 23 - &amp;quot;Table – highlighted cells&amp;quot;&quot;/&gt;&lt;property id=&quot;20307&quot; value=&quot;263&quot;/&gt;&lt;/object&gt;&lt;object type=&quot;3&quot; unique_id=&quot;10027&quot;&gt;&lt;property id=&quot;20148&quot; value=&quot;5&quot;/&gt;&lt;property id=&quot;20300&quot; value=&quot;Slide 24 - &amp;quot;Table&amp;quot;&quot;/&gt;&lt;property id=&quot;20307&quot; value=&quot;264&quot;/&gt;&lt;/object&gt;&lt;object type=&quot;3&quot; unique_id=&quot;10028&quot;&gt;&lt;property id=&quot;20148&quot; value=&quot;5&quot;/&gt;&lt;property id=&quot;20300&quot; value=&quot;Slide 25 - &amp;quot;Table&amp;quot;&quot;/&gt;&lt;property id=&quot;20307&quot; value=&quot;265&quot;/&gt;&lt;/object&gt;&lt;object type=&quot;3&quot; unique_id=&quot;10029&quot;&gt;&lt;property id=&quot;20148&quot; value=&quot;5&quot;/&gt;&lt;property id=&quot;20300&quot; value=&quot;Slide 26 - &amp;quot;Table&amp;quot;&quot;/&gt;&lt;property id=&quot;20307&quot; value=&quot;266&quot;/&gt;&lt;/object&gt;&lt;object type=&quot;3&quot; unique_id=&quot;10030&quot;&gt;&lt;property id=&quot;20148&quot; value=&quot;5&quot;/&gt;&lt;property id=&quot;20300&quot; value=&quot;Slide 27 - &amp;quot;Table&amp;quot;&quot;/&gt;&lt;property id=&quot;20307&quot; value=&quot;267&quot;/&gt;&lt;/object&gt;&lt;object type=&quot;3&quot; unique_id=&quot;10031&quot;&gt;&lt;property id=&quot;20148&quot; value=&quot;5&quot;/&gt;&lt;property id=&quot;20300&quot; value=&quot;Slide 28 - &amp;quot;Table – comparison&amp;quot;&quot;/&gt;&lt;property id=&quot;20307&quot; value=&quot;268&quot;/&gt;&lt;/object&gt;&lt;object type=&quot;3&quot; unique_id=&quot;10032&quot;&gt;&lt;property id=&quot;20148&quot; value=&quot;5&quot;/&gt;&lt;property id=&quot;20300&quot; value=&quot;Slide 29 - &amp;quot;Checklist – 3 items&amp;quot;&quot;/&gt;&lt;property id=&quot;20307&quot; value=&quot;269&quot;/&gt;&lt;/object&gt;&lt;object type=&quot;3&quot; unique_id=&quot;10033&quot;&gt;&lt;property id=&quot;20148&quot; value=&quot;5&quot;/&gt;&lt;property id=&quot;20300&quot; value=&quot;Slide 30 - &amp;quot;Checklist – 8 items&amp;quot;&quot;/&gt;&lt;property id=&quot;20307&quot; value=&quot;270&quot;/&gt;&lt;/object&gt;&lt;object type=&quot;3&quot; unique_id=&quot;10034&quot;&gt;&lt;property id=&quot;20148&quot; value=&quot;5&quot;/&gt;&lt;property id=&quot;20300&quot; value=&quot;Slide 31 - &amp;quot;Corporate Marketing&amp;quot;&quot;/&gt;&lt;property id=&quot;20307&quot; value=&quot;271&quot;/&gt;&lt;/object&gt;&lt;object type=&quot;3&quot; unique_id=&quot;10035&quot;&gt;&lt;property id=&quot;20148&quot; value=&quot;5&quot;/&gt;&lt;property id=&quot;20300&quot; value=&quot;Slide 32 - &amp;quot;Step process – list&amp;quot;&quot;/&gt;&lt;property id=&quot;20307&quot; value=&quot;272&quot;/&gt;&lt;/object&gt;&lt;object type=&quot;3&quot; unique_id=&quot;10036&quot;&gt;&lt;property id=&quot;20148&quot; value=&quot;5&quot;/&gt;&lt;property id=&quot;20300&quot; value=&quot;Slide 33 - &amp;quot;Step process – list&amp;quot;&quot;/&gt;&lt;property id=&quot;20307&quot; value=&quot;273&quot;/&gt;&lt;/object&gt;&lt;object type=&quot;3&quot; unique_id=&quot;10037&quot;&gt;&lt;property id=&quot;20148&quot; value=&quot;5&quot;/&gt;&lt;property id=&quot;20300&quot; value=&quot;Slide 34 - &amp;quot;Step process – chart&amp;quot;&quot;/&gt;&lt;property id=&quot;20307&quot; value=&quot;274&quot;/&gt;&lt;/object&gt;&lt;object type=&quot;3&quot; unique_id=&quot;10038&quot;&gt;&lt;property id=&quot;20148&quot; value=&quot;5&quot;/&gt;&lt;property id=&quot;20300&quot; value=&quot;Slide 35 - &amp;quot;Step process – chart&amp;quot;&quot;/&gt;&lt;property id=&quot;20307&quot; value=&quot;275&quot;/&gt;&lt;/object&gt;&lt;object type=&quot;3&quot; unique_id=&quot;10039&quot;&gt;&lt;property id=&quot;20148&quot; value=&quot;5&quot;/&gt;&lt;property id=&quot;20300&quot; value=&quot;Slide 36 - &amp;quot;Step process – chart&amp;quot;&quot;/&gt;&lt;property id=&quot;20307&quot; value=&quot;276&quot;/&gt;&lt;/object&gt;&lt;object type=&quot;3&quot; unique_id=&quot;10040&quot;&gt;&lt;property id=&quot;20148&quot; value=&quot;5&quot;/&gt;&lt;property id=&quot;20300&quot; value=&quot;Slide 37 - &amp;quot;Step process – chart&amp;quot;&quot;/&gt;&lt;property id=&quot;20307&quot; value=&quot;277&quot;/&gt;&lt;/object&gt;&lt;object type=&quot;3&quot; unique_id=&quot;10041&quot;&gt;&lt;property id=&quot;20148&quot; value=&quot;5&quot;/&gt;&lt;property id=&quot;20300&quot; value=&quot;Slide 38 - &amp;quot;Corporate Marketing&amp;quot;&quot;/&gt;&lt;property id=&quot;20307&quot; value=&quot;278&quot;/&gt;&lt;/object&gt;&lt;object type=&quot;3&quot; unique_id=&quot;10042&quot;&gt;&lt;property id=&quot;20148&quot; value=&quot;5&quot;/&gt;&lt;property id=&quot;20300&quot; value=&quot;Slide 39 - &amp;quot;Radial diagram&amp;quot;&quot;/&gt;&lt;property id=&quot;20307&quot; value=&quot;279&quot;/&gt;&lt;/object&gt;&lt;object type=&quot;3&quot; unique_id=&quot;10043&quot;&gt;&lt;property id=&quot;20148&quot; value=&quot;5&quot;/&gt;&lt;property id=&quot;20300&quot; value=&quot;Slide 40 - &amp;quot;Radial diagram&amp;quot;&quot;/&gt;&lt;property id=&quot;20307&quot; value=&quot;280&quot;/&gt;&lt;/object&gt;&lt;object type=&quot;3&quot; unique_id=&quot;10044&quot;&gt;&lt;property id=&quot;20148&quot; value=&quot;5&quot;/&gt;&lt;property id=&quot;20300&quot; value=&quot;Slide 41 - &amp;quot;Radial diagram&amp;quot;&quot;/&gt;&lt;property id=&quot;20307&quot; value=&quot;281&quot;/&gt;&lt;/object&gt;&lt;object type=&quot;3&quot; unique_id=&quot;10045&quot;&gt;&lt;property id=&quot;20148&quot; value=&quot;5&quot;/&gt;&lt;property id=&quot;20300&quot; value=&quot;Slide 42 - &amp;quot;Radial diagram&amp;quot;&quot;/&gt;&lt;property id=&quot;20307&quot; value=&quot;282&quot;/&gt;&lt;/object&gt;&lt;object type=&quot;3&quot; unique_id=&quot;10046&quot;&gt;&lt;property id=&quot;20148&quot; value=&quot;5&quot;/&gt;&lt;property id=&quot;20300&quot; value=&quot;Slide 43 - &amp;quot;Oval egg chart&amp;quot;&quot;/&gt;&lt;property id=&quot;20307&quot; value=&quot;283&quot;/&gt;&lt;/object&gt;&lt;object type=&quot;3&quot; unique_id=&quot;10047&quot;&gt;&lt;property id=&quot;20148&quot; value=&quot;5&quot;/&gt;&lt;property id=&quot;20300&quot; value=&quot;Slide 44 - &amp;quot;Ring chart&amp;quot;&quot;/&gt;&lt;property id=&quot;20307&quot; value=&quot;284&quot;/&gt;&lt;/object&gt;&lt;object type=&quot;3&quot; unique_id=&quot;10048&quot;&gt;&lt;property id=&quot;20148&quot; value=&quot;5&quot;/&gt;&lt;property id=&quot;20300&quot; value=&quot;Slide 45 - &amp;quot;Seesaw chart&amp;quot;&quot;/&gt;&lt;property id=&quot;20307&quot; value=&quot;288&quot;/&gt;&lt;/object&gt;&lt;object type=&quot;3&quot; unique_id=&quot;10049&quot;&gt;&lt;property id=&quot;20148&quot; value=&quot;5&quot;/&gt;&lt;property id=&quot;20300&quot; value=&quot;Slide 46 - &amp;quot;Organizational chart&amp;quot;&quot;/&gt;&lt;property id=&quot;20307&quot; value=&quot;289&quot;/&gt;&lt;/object&gt;&lt;object type=&quot;3&quot; unique_id=&quot;10050&quot;&gt;&lt;property id=&quot;20148&quot; value=&quot;5&quot;/&gt;&lt;property id=&quot;20300&quot; value=&quot;Slide 47 - &amp;quot;Corporate Marketing&amp;quot;&quot;/&gt;&lt;property id=&quot;20307&quot; value=&quot;290&quot;/&gt;&lt;/object&gt;&lt;object type=&quot;3&quot; unique_id=&quot;10051&quot;&gt;&lt;property id=&quot;20148&quot; value=&quot;5&quot;/&gt;&lt;property id=&quot;20300&quot; value=&quot;Slide 48 - &amp;quot;Comparison chart&amp;quot;&quot;/&gt;&lt;property id=&quot;20307&quot; value=&quot;291&quot;/&gt;&lt;/object&gt;&lt;object type=&quot;3&quot; unique_id=&quot;10052&quot;&gt;&lt;property id=&quot;20148&quot; value=&quot;5&quot;/&gt;&lt;property id=&quot;20300&quot; value=&quot;Slide 49 - &amp;quot;Comparison chart&amp;quot;&quot;/&gt;&lt;property id=&quot;20307&quot; value=&quot;292&quot;/&gt;&lt;/object&gt;&lt;object type=&quot;3&quot; unique_id=&quot;10053&quot;&gt;&lt;property id=&quot;20148&quot; value=&quot;5&quot;/&gt;&lt;property id=&quot;20300&quot; value=&quot;Slide 50 - &amp;quot;Comparison matrix&amp;quot;&quot;/&gt;&lt;property id=&quot;20307&quot; value=&quot;293&quot;/&gt;&lt;/object&gt;&lt;object type=&quot;3&quot; unique_id=&quot;10054&quot;&gt;&lt;property id=&quot;20148&quot; value=&quot;5&quot;/&gt;&lt;property id=&quot;20300&quot; value=&quot;Slide 51 - &amp;quot;Comparison matrix&amp;quot;&quot;/&gt;&lt;property id=&quot;20307&quot; value=&quot;294&quot;/&gt;&lt;/object&gt;&lt;object type=&quot;3&quot; unique_id=&quot;10055&quot;&gt;&lt;property id=&quot;20148&quot; value=&quot;5&quot;/&gt;&lt;property id=&quot;20300&quot; value=&quot;Slide 52 - &amp;quot;Corporate Marketing&amp;quot;&quot;/&gt;&lt;property id=&quot;20307&quot; value=&quot;295&quot;/&gt;&lt;/object&gt;&lt;object type=&quot;3&quot; unique_id=&quot;10056&quot;&gt;&lt;property id=&quot;20148&quot; value=&quot;5&quot;/&gt;&lt;property id=&quot;20300&quot; value=&quot;Slide 53 - &amp;quot;Flow chart&amp;quot;&quot;/&gt;&lt;property id=&quot;20307&quot; value=&quot;296&quot;/&gt;&lt;/object&gt;&lt;object type=&quot;3&quot; unique_id=&quot;10057&quot;&gt;&lt;property id=&quot;20148&quot; value=&quot;5&quot;/&gt;&lt;property id=&quot;20300&quot; value=&quot;Slide 54 - &amp;quot;Flow chart&amp;quot;&quot;/&gt;&lt;property id=&quot;20307&quot; value=&quot;297&quot;/&gt;&lt;/object&gt;&lt;object type=&quot;3&quot; unique_id=&quot;10058&quot;&gt;&lt;property id=&quot;20148&quot; value=&quot;5&quot;/&gt;&lt;property id=&quot;20300&quot; value=&quot;Slide 55 - &amp;quot;Flow chart&amp;quot;&quot;/&gt;&lt;property id=&quot;20307&quot; value=&quot;298&quot;/&gt;&lt;/object&gt;&lt;object type=&quot;3&quot; unique_id=&quot;10059&quot;&gt;&lt;property id=&quot;20148&quot; value=&quot;5&quot;/&gt;&lt;property id=&quot;20300&quot; value=&quot;Slide 56 - &amp;quot;Flow chart&amp;quot;&quot;/&gt;&lt;property id=&quot;20307&quot; value=&quot;299&quot;/&gt;&lt;/object&gt;&lt;object type=&quot;3&quot; unique_id=&quot;10060&quot;&gt;&lt;property id=&quot;20148&quot; value=&quot;5&quot;/&gt;&lt;property id=&quot;20300&quot; value=&quot;Slide 57 - &amp;quot;Flow chart&amp;quot;&quot;/&gt;&lt;property id=&quot;20307&quot; value=&quot;300&quot;/&gt;&lt;/object&gt;&lt;object type=&quot;3&quot; unique_id=&quot;10061&quot;&gt;&lt;property id=&quot;20148&quot; value=&quot;5&quot;/&gt;&lt;property id=&quot;20300&quot; value=&quot;Slide 58 - &amp;quot;Flow chart&amp;quot;&quot;/&gt;&lt;property id=&quot;20307&quot; value=&quot;301&quot;/&gt;&lt;/object&gt;&lt;object type=&quot;3&quot; unique_id=&quot;10062&quot;&gt;&lt;property id=&quot;20148&quot; value=&quot;5&quot;/&gt;&lt;property id=&quot;20300&quot; value=&quot;Slide 59 - &amp;quot;Flow chart&amp;quot;&quot;/&gt;&lt;property id=&quot;20307&quot; value=&quot;302&quot;/&gt;&lt;/object&gt;&lt;object type=&quot;3&quot; unique_id=&quot;10063&quot;&gt;&lt;property id=&quot;20148&quot; value=&quot;5&quot;/&gt;&lt;property id=&quot;20300&quot; value=&quot;Slide 60 - &amp;quot;Flow chart&amp;quot;&quot;/&gt;&lt;property id=&quot;20307&quot; value=&quot;303&quot;/&gt;&lt;/object&gt;&lt;object type=&quot;3&quot; unique_id=&quot;10064&quot;&gt;&lt;property id=&quot;20148&quot; value=&quot;5&quot;/&gt;&lt;property id=&quot;20300&quot; value=&quot;Slide 61 - &amp;quot;Flow chart – symbols 1 of 3&amp;quot;&quot;/&gt;&lt;property id=&quot;20307&quot; value=&quot;304&quot;/&gt;&lt;/object&gt;&lt;object type=&quot;3&quot; unique_id=&quot;10065&quot;&gt;&lt;property id=&quot;20148&quot; value=&quot;5&quot;/&gt;&lt;property id=&quot;20300&quot; value=&quot;Slide 62 - &amp;quot;Flow chart – symbols 2 of 3&amp;quot;&quot;/&gt;&lt;property id=&quot;20307&quot; value=&quot;305&quot;/&gt;&lt;/object&gt;&lt;object type=&quot;3&quot; unique_id=&quot;10066&quot;&gt;&lt;property id=&quot;20148&quot; value=&quot;5&quot;/&gt;&lt;property id=&quot;20300&quot; value=&quot;Slide 63 - &amp;quot;Flow chart – symbols 3 of 3&amp;quot;&quot;/&gt;&lt;property id=&quot;20307&quot; value=&quot;306&quot;/&gt;&lt;/object&gt;&lt;object type=&quot;3&quot; unique_id=&quot;10067&quot;&gt;&lt;property id=&quot;20148&quot; value=&quot;5&quot;/&gt;&lt;property id=&quot;20300&quot; value=&quot;Slide 64 - &amp;quot;Corporate Marketing&amp;quot;&quot;/&gt;&lt;property id=&quot;20307&quot; value=&quot;307&quot;/&gt;&lt;/object&gt;&lt;object type=&quot;3&quot; unique_id=&quot;10068&quot;&gt;&lt;property id=&quot;20148&quot; value=&quot;5&quot;/&gt;&lt;property id=&quot;20300&quot; value=&quot;Slide 65 - &amp;quot;Process chart&amp;quot;&quot;/&gt;&lt;property id=&quot;20307&quot; value=&quot;308&quot;/&gt;&lt;/object&gt;&lt;object type=&quot;3&quot; unique_id=&quot;10069&quot;&gt;&lt;property id=&quot;20148&quot; value=&quot;5&quot;/&gt;&lt;property id=&quot;20300&quot; value=&quot;Slide 66 - &amp;quot;Process chart&amp;quot;&quot;/&gt;&lt;property id=&quot;20307&quot; value=&quot;309&quot;/&gt;&lt;/object&gt;&lt;object type=&quot;3&quot; unique_id=&quot;10070&quot;&gt;&lt;property id=&quot;20148&quot; value=&quot;5&quot;/&gt;&lt;property id=&quot;20300&quot; value=&quot;Slide 67 - &amp;quot;Corporate Marketing&amp;quot;&quot;/&gt;&lt;property id=&quot;20307&quot; value=&quot;310&quot;/&gt;&lt;/object&gt;&lt;object type=&quot;3&quot; unique_id=&quot;10071&quot;&gt;&lt;property id=&quot;20148&quot; value=&quot;5&quot;/&gt;&lt;property id=&quot;20300&quot; value=&quot;Slide 68 - &amp;quot;Pyramid chart&amp;quot;&quot;/&gt;&lt;property id=&quot;20307&quot; value=&quot;311&quot;/&gt;&lt;/object&gt;&lt;object type=&quot;3&quot; unique_id=&quot;10072&quot;&gt;&lt;property id=&quot;20148&quot; value=&quot;5&quot;/&gt;&lt;property id=&quot;20300&quot; value=&quot;Slide 69 - &amp;quot;CORPORATE MARKETING&amp;quot;&quot;/&gt;&lt;property id=&quot;20307&quot; value=&quot;312&quot;/&gt;&lt;/object&gt;&lt;object type=&quot;3&quot; unique_id=&quot;10073&quot;&gt;&lt;property id=&quot;20148&quot; value=&quot;5&quot;/&gt;&lt;property id=&quot;20300&quot; value=&quot;Slide 70 - &amp;quot;Trend chart&amp;quot;&quot;/&gt;&lt;property id=&quot;20307&quot; value=&quot;313&quot;/&gt;&lt;/object&gt;&lt;object type=&quot;3&quot; unique_id=&quot;10074&quot;&gt;&lt;property id=&quot;20148&quot; value=&quot;5&quot;/&gt;&lt;property id=&quot;20300&quot; value=&quot;Slide 71 - &amp;quot;Corporate Marketing&amp;quot;&quot;/&gt;&lt;property id=&quot;20307&quot; value=&quot;314&quot;/&gt;&lt;/object&gt;&lt;object type=&quot;3&quot; unique_id=&quot;10075&quot;&gt;&lt;property id=&quot;20148&quot; value=&quot;5&quot;/&gt;&lt;property id=&quot;20300&quot; value=&quot;Slide 72 - &amp;quot;Dashboard view – charts&amp;quot;&quot;/&gt;&lt;property id=&quot;20307&quot; value=&quot;315&quot;/&gt;&lt;/object&gt;&lt;object type=&quot;3&quot; unique_id=&quot;10076&quot;&gt;&lt;property id=&quot;20148&quot; value=&quot;5&quot;/&gt;&lt;property id=&quot;20300&quot; value=&quot;Slide 73 - &amp;quot;Dashboard view – tables&amp;quot;&quot;/&gt;&lt;property id=&quot;20307&quot; value=&quot;316&quot;/&gt;&lt;/object&gt;&lt;object type=&quot;3&quot; unique_id=&quot;10077&quot;&gt;&lt;property id=&quot;20148&quot; value=&quot;5&quot;/&gt;&lt;property id=&quot;20300&quot; value=&quot;Slide 74 - &amp;quot;Corporate Marketing&amp;quot;&quot;/&gt;&lt;property id=&quot;20307&quot; value=&quot;317&quot;/&gt;&lt;/object&gt;&lt;object type=&quot;3&quot; unique_id=&quot;10078&quot;&gt;&lt;property id=&quot;20148&quot; value=&quot;5&quot;/&gt;&lt;property id=&quot;20300&quot; value=&quot;Slide 75 - &amp;quot;Roadmapping&amp;quot;&quot;/&gt;&lt;property id=&quot;20307&quot; value=&quot;318&quot;/&gt;&lt;/object&gt;&lt;object type=&quot;3&quot; unique_id=&quot;10079&quot;&gt;&lt;property id=&quot;20148&quot; value=&quot;5&quot;/&gt;&lt;property id=&quot;20300&quot; value=&quot;Slide 76 - &amp;quot;Corporate Marketing&amp;quot;&quot;/&gt;&lt;property id=&quot;20307&quot; value=&quot;319&quot;/&gt;&lt;/object&gt;&lt;object type=&quot;3&quot; unique_id=&quot;10080&quot;&gt;&lt;property id=&quot;20148&quot; value=&quot;5&quot;/&gt;&lt;property id=&quot;20300&quot; value=&quot;Slide 77 - &amp;quot;TU Icons&amp;quot;&quot;/&gt;&lt;property id=&quot;20307&quot; value=&quot;320&quot;/&gt;&lt;/object&gt;&lt;object type=&quot;3&quot; unique_id=&quot;10081&quot;&gt;&lt;property id=&quot;20148&quot; value=&quot;5&quot;/&gt;&lt;property id=&quot;20300&quot; value=&quot;Slide 78 - &amp;quot;TU Icons&amp;quot;&quot;/&gt;&lt;property id=&quot;20307&quot; value=&quot;321&quot;/&gt;&lt;/object&gt;&lt;object type=&quot;3&quot; unique_id=&quot;10082&quot;&gt;&lt;property id=&quot;20148&quot; value=&quot;5&quot;/&gt;&lt;property id=&quot;20300&quot; value=&quot;Slide 79 - &amp;quot;TU Icons&amp;quot;&quot;/&gt;&lt;property id=&quot;20307&quot; value=&quot;322&quot;/&gt;&lt;/object&gt;&lt;object type=&quot;3&quot; unique_id=&quot;10083&quot;&gt;&lt;property id=&quot;20148&quot; value=&quot;5&quot;/&gt;&lt;property id=&quot;20300&quot; value=&quot;Slide 80 - &amp;quot;TU Icons&amp;quot;&quot;/&gt;&lt;property id=&quot;20307&quot; value=&quot;323&quot;/&gt;&lt;/object&gt;&lt;object type=&quot;3&quot; unique_id=&quot;10084&quot;&gt;&lt;property id=&quot;20148&quot; value=&quot;5&quot;/&gt;&lt;property id=&quot;20300&quot; value=&quot;Slide 81 - &amp;quot;IFG Icons&amp;quot;&quot;/&gt;&lt;property id=&quot;20307&quot; value=&quot;324&quot;/&gt;&lt;/object&gt;&lt;object type=&quot;3&quot; unique_id=&quot;10085&quot;&gt;&lt;property id=&quot;20148&quot; value=&quot;5&quot;/&gt;&lt;property id=&quot;20300&quot; value=&quot;Slide 82 - &amp;quot;TU Functional Icons&amp;quot;&quot;/&gt;&lt;property id=&quot;20307&quot; value=&quot;325&quot;/&gt;&lt;/object&gt;&lt;object type=&quot;3&quot; unique_id=&quot;10086&quot;&gt;&lt;property id=&quot;20148&quot; value=&quot;5&quot;/&gt;&lt;property id=&quot;20300&quot; value=&quot;Slide 83 - &amp;quot;TU Functional Icons&amp;quot;&quot;/&gt;&lt;property id=&quot;20307&quot; value=&quot;326&quot;/&gt;&lt;/object&gt;&lt;object type=&quot;3&quot; unique_id=&quot;10087&quot;&gt;&lt;property id=&quot;20148&quot; value=&quot;5&quot;/&gt;&lt;property id=&quot;20300&quot; value=&quot;Slide 84 - &amp;quot;TU Functional Icons&amp;quot;&quot;/&gt;&lt;property id=&quot;20307&quot; value=&quot;327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nhFA4pQdmB4_PGEVGnKg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0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1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2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13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2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3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4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5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6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7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8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ppt/theme/themeOverride9.xml><?xml version="1.0" encoding="utf-8"?>
<a:themeOverride xmlns:a="http://schemas.openxmlformats.org/drawingml/2006/main">
  <a:clrScheme name="Facet">
    <a:dk1>
      <a:sysClr val="windowText" lastClr="000000"/>
    </a:dk1>
    <a:lt1>
      <a:sysClr val="window" lastClr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5912A69280F14684BA20087BD3C842" ma:contentTypeVersion="0" ma:contentTypeDescription="Create a new document." ma:contentTypeScope="" ma:versionID="46efb2df280b0a88f21e5db9cdc32c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1188387e60966567a278dbc47af58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1581B7C-5CBE-4F07-9367-4B44CC131AB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E457A9-E265-4B49-AD1B-F0F3F6EA7A49}">
  <ds:schemaRefs>
    <ds:schemaRef ds:uri="http://purl.org/dc/elements/1.1/"/>
    <ds:schemaRef ds:uri="http://purl.org/dc/terms/"/>
    <ds:schemaRef ds:uri="http://schemas.microsoft.com/internal/obd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F35710-90DC-4AF1-BD00-936661C95716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01</TotalTime>
  <Words>365</Words>
  <Application>Microsoft Office PowerPoint</Application>
  <PresentationFormat>Custom</PresentationFormat>
  <Paragraphs>58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Arial</vt:lpstr>
      <vt:lpstr>Calibri</vt:lpstr>
      <vt:lpstr>Calibri Light</vt:lpstr>
      <vt:lpstr>Trebuchet MS</vt:lpstr>
      <vt:lpstr>Wingdings</vt:lpstr>
      <vt:lpstr>Wingdings 3</vt:lpstr>
      <vt:lpstr>1_Custom Design</vt:lpstr>
      <vt:lpstr>Facet</vt:lpstr>
      <vt:lpstr>think-cell Slide</vt:lpstr>
      <vt:lpstr>Load Test – Ecommerce Site</vt:lpstr>
      <vt:lpstr>Code base and Jenkins Details</vt:lpstr>
      <vt:lpstr>Load Testing Project</vt:lpstr>
      <vt:lpstr>Load Testing Project</vt:lpstr>
      <vt:lpstr>Load Testing Project</vt:lpstr>
      <vt:lpstr>Load Testing – Multiple User</vt:lpstr>
      <vt:lpstr>Load Testing Project</vt:lpstr>
      <vt:lpstr>Load Testing Project</vt:lpstr>
      <vt:lpstr>Load Testing Project</vt:lpstr>
      <vt:lpstr>1. Did the load test have an impact on the web application response time? </vt:lpstr>
      <vt:lpstr>1. Did the load test have an impact on the web application response time? </vt:lpstr>
      <vt:lpstr>2. Analyze a few HTTP/S responses</vt:lpstr>
      <vt:lpstr>3. What is the optimal application response time for modern day web applications?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eepika miglani</dc:creator>
  <cp:lastModifiedBy>dinesh T</cp:lastModifiedBy>
  <cp:revision>273</cp:revision>
  <dcterms:created xsi:type="dcterms:W3CDTF">2020-07-22T16:20:42Z</dcterms:created>
  <dcterms:modified xsi:type="dcterms:W3CDTF">2022-03-11T13:1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ransUnion Department">
    <vt:lpwstr>4;#Global Marketing|ed8dcf37-daf3-4a2a-8bcf-efab26f773e8</vt:lpwstr>
  </property>
  <property fmtid="{D5CDD505-2E9C-101B-9397-08002B2CF9AE}" pid="3" name="ContentTypeId">
    <vt:lpwstr>0x010100D55912A69280F14684BA20087BD3C842</vt:lpwstr>
  </property>
  <property fmtid="{D5CDD505-2E9C-101B-9397-08002B2CF9AE}" pid="4" name="IsMyDocuments">
    <vt:bool>true</vt:bool>
  </property>
</Properties>
</file>